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notesSlides/notesSlide12.xml" ContentType="application/vnd.openxmlformats-officedocument.presentationml.notesSlide+xml"/>
  <Override PartName="/ppt/tags/tag47.xml" ContentType="application/vnd.openxmlformats-officedocument.presentationml.tags+xml"/>
  <Override PartName="/ppt/notesSlides/notesSlide13.xml" ContentType="application/vnd.openxmlformats-officedocument.presentationml.notesSlide+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notesSlides/notesSlide16.xml" ContentType="application/vnd.openxmlformats-officedocument.presentationml.notesSlide+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ppt/notesSlides/notesSlide18.xml" ContentType="application/vnd.openxmlformats-officedocument.presentationml.notesSlide+xml"/>
  <Override PartName="/ppt/tags/tag53.xml" ContentType="application/vnd.openxmlformats-officedocument.presentationml.tags+xml"/>
  <Override PartName="/ppt/notesSlides/notesSlide19.xml" ContentType="application/vnd.openxmlformats-officedocument.presentationml.notesSlide+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notesSlides/notesSlide22.xml" ContentType="application/vnd.openxmlformats-officedocument.presentationml.notesSlide+xml"/>
  <Override PartName="/ppt/tags/tag57.xml" ContentType="application/vnd.openxmlformats-officedocument.presentationml.tags+xml"/>
  <Override PartName="/ppt/notesSlides/notesSlide23.xml" ContentType="application/vnd.openxmlformats-officedocument.presentationml.notesSlide+xml"/>
  <Override PartName="/ppt/tags/tag58.xml" ContentType="application/vnd.openxmlformats-officedocument.presentationml.tags+xml"/>
  <Override PartName="/ppt/notesSlides/notesSlide24.xml" ContentType="application/vnd.openxmlformats-officedocument.presentationml.notesSlide+xml"/>
  <Override PartName="/ppt/tags/tag59.xml" ContentType="application/vnd.openxmlformats-officedocument.presentationml.tags+xml"/>
  <Override PartName="/ppt/notesSlides/notesSlide25.xml" ContentType="application/vnd.openxmlformats-officedocument.presentationml.notesSlide+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notesSlides/notesSlide27.xml" ContentType="application/vnd.openxmlformats-officedocument.presentationml.notesSlide+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notesSlides/notesSlide30.xml" ContentType="application/vnd.openxmlformats-officedocument.presentationml.notesSlide+xml"/>
  <Override PartName="/ppt/tags/tag65.xml" ContentType="application/vnd.openxmlformats-officedocument.presentationml.tags+xml"/>
  <Override PartName="/ppt/notesSlides/notesSlide31.xml" ContentType="application/vnd.openxmlformats-officedocument.presentationml.notesSlide+xml"/>
  <Override PartName="/ppt/tags/tag66.xml" ContentType="application/vnd.openxmlformats-officedocument.presentationml.tags+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379" r:id="rId5"/>
    <p:sldId id="2394" r:id="rId6"/>
    <p:sldId id="2448" r:id="rId7"/>
    <p:sldId id="2431" r:id="rId8"/>
    <p:sldId id="2434" r:id="rId9"/>
    <p:sldId id="2374" r:id="rId10"/>
    <p:sldId id="2427" r:id="rId11"/>
    <p:sldId id="2392" r:id="rId12"/>
    <p:sldId id="2428" r:id="rId13"/>
    <p:sldId id="2395" r:id="rId14"/>
    <p:sldId id="2398" r:id="rId15"/>
    <p:sldId id="2339" r:id="rId16"/>
    <p:sldId id="2408" r:id="rId17"/>
    <p:sldId id="2414" r:id="rId18"/>
    <p:sldId id="422" r:id="rId19"/>
    <p:sldId id="2412" r:id="rId20"/>
    <p:sldId id="2415" r:id="rId21"/>
    <p:sldId id="2421" r:id="rId22"/>
    <p:sldId id="2363" r:id="rId23"/>
    <p:sldId id="2444" r:id="rId24"/>
    <p:sldId id="2445" r:id="rId25"/>
    <p:sldId id="2435" r:id="rId26"/>
    <p:sldId id="2443" r:id="rId27"/>
    <p:sldId id="2447" r:id="rId28"/>
    <p:sldId id="2446" r:id="rId29"/>
    <p:sldId id="2442" r:id="rId30"/>
    <p:sldId id="2422" r:id="rId31"/>
    <p:sldId id="2438" r:id="rId32"/>
    <p:sldId id="2437" r:id="rId33"/>
    <p:sldId id="2439" r:id="rId34"/>
    <p:sldId id="2369" r:id="rId35"/>
    <p:sldId id="2350" r:id="rId36"/>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and background information" id="{883B11EF-411A-4DB9-86E6-D163D20D14C1}">
          <p14:sldIdLst>
            <p14:sldId id="2379"/>
          </p14:sldIdLst>
        </p14:section>
        <p14:section name="Introduction and background information" id="{8DC827DC-5671-411D-BA6A-3DCA67824E87}">
          <p14:sldIdLst>
            <p14:sldId id="2394"/>
            <p14:sldId id="2448"/>
            <p14:sldId id="2431"/>
            <p14:sldId id="2434"/>
            <p14:sldId id="2374"/>
            <p14:sldId id="2427"/>
            <p14:sldId id="2392"/>
          </p14:sldIdLst>
        </p14:section>
        <p14:section name="Workshop slides" id="{02905E05-6B8A-40A0-A0C9-406062612CD9}">
          <p14:sldIdLst>
            <p14:sldId id="2428"/>
            <p14:sldId id="2395"/>
            <p14:sldId id="2398"/>
            <p14:sldId id="2339"/>
            <p14:sldId id="2408"/>
            <p14:sldId id="2414"/>
            <p14:sldId id="422"/>
            <p14:sldId id="2412"/>
            <p14:sldId id="2415"/>
            <p14:sldId id="2421"/>
            <p14:sldId id="2363"/>
            <p14:sldId id="2444"/>
            <p14:sldId id="2445"/>
            <p14:sldId id="2435"/>
            <p14:sldId id="2443"/>
            <p14:sldId id="2447"/>
            <p14:sldId id="2446"/>
            <p14:sldId id="2442"/>
            <p14:sldId id="2422"/>
            <p14:sldId id="2438"/>
            <p14:sldId id="2437"/>
            <p14:sldId id="2439"/>
            <p14:sldId id="2369"/>
            <p14:sldId id="235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F6B0F2-1C57-BADF-3999-C8FB7203F104}" name="Buyken  Maximilian (VPPL)" initials="BM(" userId="S::mbuyken@ethz.ch::6674c2ca-8f88-4e9a-a029-c4d0d5c5c3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enaolson" initials="g.o." lastIdx="5" clrIdx="6">
    <p:extLst>
      <p:ext uri="{19B8F6BF-5375-455C-9EA6-DF929625EA0E}">
        <p15:presenceInfo xmlns:p15="http://schemas.microsoft.com/office/powerpoint/2012/main" userId="genaolson" providerId="None"/>
      </p:ext>
    </p:extLst>
  </p:cmAuthor>
  <p:cmAuthor id="1" name="van Leeuwen  Sara (VPPL)" initials="vLS(" lastIdx="14" clrIdx="0">
    <p:extLst>
      <p:ext uri="{19B8F6BF-5375-455C-9EA6-DF929625EA0E}">
        <p15:presenceInfo xmlns:p15="http://schemas.microsoft.com/office/powerpoint/2012/main" userId="S::svanleeuwen@ethz.ch::7a5f1df4-0dd0-4c9e-a72f-a035cf318af6" providerId="AD"/>
      </p:ext>
    </p:extLst>
  </p:cmAuthor>
  <p:cmAuthor id="2" name="Kälin  Dahlia (HR)" initials="KD(" lastIdx="8" clrIdx="1">
    <p:extLst>
      <p:ext uri="{19B8F6BF-5375-455C-9EA6-DF929625EA0E}">
        <p15:presenceInfo xmlns:p15="http://schemas.microsoft.com/office/powerpoint/2012/main" userId="S-1-5-21-2025429265-764733703-1417001333-563691" providerId="AD"/>
      </p:ext>
    </p:extLst>
  </p:cmAuthor>
  <p:cmAuthor id="3" name="Hildbrand Studer  Ernestine (HR)" initials="HSE(" lastIdx="25" clrIdx="2">
    <p:extLst>
      <p:ext uri="{19B8F6BF-5375-455C-9EA6-DF929625EA0E}">
        <p15:presenceInfo xmlns:p15="http://schemas.microsoft.com/office/powerpoint/2012/main" userId="S::ehildbra@ethz.ch::e77c119a-1ea3-4930-842d-0e2d2b9dbcf1" providerId="AD"/>
      </p:ext>
    </p:extLst>
  </p:cmAuthor>
  <p:cmAuthor id="4" name="Buyken  Maximilian (VPPL)" initials="B(" lastIdx="40" clrIdx="3">
    <p:extLst>
      <p:ext uri="{19B8F6BF-5375-455C-9EA6-DF929625EA0E}">
        <p15:presenceInfo xmlns:p15="http://schemas.microsoft.com/office/powerpoint/2012/main" userId="S::mbuyken@ethz.ch::6674c2ca-8f88-4e9a-a029-c4d0d5c5c3c7" providerId="AD"/>
      </p:ext>
    </p:extLst>
  </p:cmAuthor>
  <p:cmAuthor id="5" name="Ghisletti  Martin (HR)" initials="G(" lastIdx="1" clrIdx="4">
    <p:extLst>
      <p:ext uri="{19B8F6BF-5375-455C-9EA6-DF929625EA0E}">
        <p15:presenceInfo xmlns:p15="http://schemas.microsoft.com/office/powerpoint/2012/main" userId="S::martingh@ethz.ch::291530b3-7f3d-484e-9abf-3b7e6bbe3bed" providerId="AD"/>
      </p:ext>
    </p:extLst>
  </p:cmAuthor>
  <p:cmAuthor id="6" name="Kälin  Dahlia (HR)" initials="KD( [2]" lastIdx="2" clrIdx="5">
    <p:extLst>
      <p:ext uri="{19B8F6BF-5375-455C-9EA6-DF929625EA0E}">
        <p15:presenceInfo xmlns:p15="http://schemas.microsoft.com/office/powerpoint/2012/main" userId="S::dahkaelin@ethz.ch::624c48f1-3554-4e6d-92b4-870628c1bb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4660"/>
  </p:normalViewPr>
  <p:slideViewPr>
    <p:cSldViewPr snapToGrid="0">
      <p:cViewPr varScale="1">
        <p:scale>
          <a:sx n="59" d="100"/>
          <a:sy n="59" d="100"/>
        </p:scale>
        <p:origin x="900" y="7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yken  Maximilian (VPPL)" userId="6674c2ca-8f88-4e9a-a029-c4d0d5c5c3c7" providerId="ADAL" clId="{44B500CB-C1E5-418D-9BCB-E01CA21DD4A9}"/>
    <pc:docChg chg="undo custSel modSld replTag">
      <pc:chgData name="Buyken  Maximilian (VPPL)" userId="6674c2ca-8f88-4e9a-a029-c4d0d5c5c3c7" providerId="ADAL" clId="{44B500CB-C1E5-418D-9BCB-E01CA21DD4A9}" dt="2023-11-06T10:39:10.926" v="397"/>
      <pc:docMkLst>
        <pc:docMk/>
      </pc:docMkLst>
      <pc:sldChg chg="addSp delSp modSp mod addCm modCm">
        <pc:chgData name="Buyken  Maximilian (VPPL)" userId="6674c2ca-8f88-4e9a-a029-c4d0d5c5c3c7" providerId="ADAL" clId="{44B500CB-C1E5-418D-9BCB-E01CA21DD4A9}" dt="2023-11-06T10:39:10.926" v="397"/>
        <pc:sldMkLst>
          <pc:docMk/>
          <pc:sldMk cId="210407677" sldId="2350"/>
        </pc:sldMkLst>
        <pc:spChg chg="mod">
          <ac:chgData name="Buyken  Maximilian (VPPL)" userId="6674c2ca-8f88-4e9a-a029-c4d0d5c5c3c7" providerId="ADAL" clId="{44B500CB-C1E5-418D-9BCB-E01CA21DD4A9}" dt="2023-11-06T10:21:40.974" v="349" actId="948"/>
          <ac:spMkLst>
            <pc:docMk/>
            <pc:sldMk cId="210407677" sldId="2350"/>
            <ac:spMk id="2" creationId="{52558334-A345-4D81-9F4E-D052229C97C2}"/>
          </ac:spMkLst>
        </pc:spChg>
        <pc:spChg chg="add del mod modVis">
          <ac:chgData name="Buyken  Maximilian (VPPL)" userId="6674c2ca-8f88-4e9a-a029-c4d0d5c5c3c7" providerId="ADAL" clId="{44B500CB-C1E5-418D-9BCB-E01CA21DD4A9}" dt="2023-11-06T10:21:41.008" v="372"/>
          <ac:spMkLst>
            <pc:docMk/>
            <pc:sldMk cId="210407677" sldId="2350"/>
            <ac:spMk id="3" creationId="{AB310B78-4103-E6C4-22EA-90195D5A8DF7}"/>
          </ac:spMkLst>
        </pc:spChg>
        <pc:spChg chg="mod">
          <ac:chgData name="Buyken  Maximilian (VPPL)" userId="6674c2ca-8f88-4e9a-a029-c4d0d5c5c3c7" providerId="ADAL" clId="{44B500CB-C1E5-418D-9BCB-E01CA21DD4A9}" dt="2023-11-06T10:38:38.337" v="396" actId="13926"/>
          <ac:spMkLst>
            <pc:docMk/>
            <pc:sldMk cId="210407677" sldId="2350"/>
            <ac:spMk id="5" creationId="{20CBB855-862A-446C-A75E-1B38AEA6B736}"/>
          </ac:spMkLst>
        </pc:spChg>
        <pc:graphicFrameChg chg="mod">
          <ac:chgData name="Buyken  Maximilian (VPPL)" userId="6674c2ca-8f88-4e9a-a029-c4d0d5c5c3c7" providerId="ADAL" clId="{44B500CB-C1E5-418D-9BCB-E01CA21DD4A9}" dt="2023-11-06T10:21:41.013" v="374"/>
          <ac:graphicFrameMkLst>
            <pc:docMk/>
            <pc:sldMk cId="210407677" sldId="2350"/>
            <ac:graphicFrameMk id="4" creationId="{1FE7B902-01C5-279F-716C-D4818AF88DEB}"/>
          </ac:graphicFrameMkLst>
        </pc:graphicFrameChg>
      </pc:sldChg>
      <pc:sldChg chg="modSp mod addCm modCm">
        <pc:chgData name="Buyken  Maximilian (VPPL)" userId="6674c2ca-8f88-4e9a-a029-c4d0d5c5c3c7" providerId="ADAL" clId="{44B500CB-C1E5-418D-9BCB-E01CA21DD4A9}" dt="2023-11-06T10:21:01.092" v="347" actId="20577"/>
        <pc:sldMkLst>
          <pc:docMk/>
          <pc:sldMk cId="1900787555" sldId="2369"/>
        </pc:sldMkLst>
        <pc:spChg chg="mod">
          <ac:chgData name="Buyken  Maximilian (VPPL)" userId="6674c2ca-8f88-4e9a-a029-c4d0d5c5c3c7" providerId="ADAL" clId="{44B500CB-C1E5-418D-9BCB-E01CA21DD4A9}" dt="2023-11-06T10:21:01.092" v="347" actId="20577"/>
          <ac:spMkLst>
            <pc:docMk/>
            <pc:sldMk cId="1900787555" sldId="2369"/>
            <ac:spMk id="3" creationId="{D248A836-D270-48AC-93BC-E789F2E8E734}"/>
          </ac:spMkLst>
        </pc:spChg>
      </pc:sldChg>
      <pc:sldChg chg="addSp delSp modSp mod addCm modCm">
        <pc:chgData name="Buyken  Maximilian (VPPL)" userId="6674c2ca-8f88-4e9a-a029-c4d0d5c5c3c7" providerId="ADAL" clId="{44B500CB-C1E5-418D-9BCB-E01CA21DD4A9}" dt="2023-11-06T10:34:45.024" v="386"/>
        <pc:sldMkLst>
          <pc:docMk/>
          <pc:sldMk cId="282434247" sldId="2395"/>
        </pc:sldMkLst>
        <pc:spChg chg="mod">
          <ac:chgData name="Buyken  Maximilian (VPPL)" userId="6674c2ca-8f88-4e9a-a029-c4d0d5c5c3c7" providerId="ADAL" clId="{44B500CB-C1E5-418D-9BCB-E01CA21DD4A9}" dt="2023-11-06T09:45:00.616" v="24" actId="948"/>
          <ac:spMkLst>
            <pc:docMk/>
            <pc:sldMk cId="282434247" sldId="2395"/>
            <ac:spMk id="2" creationId="{C2543CB6-7CCE-4092-94E2-1F9AF86C92CD}"/>
          </ac:spMkLst>
        </pc:spChg>
        <pc:spChg chg="mod">
          <ac:chgData name="Buyken  Maximilian (VPPL)" userId="6674c2ca-8f88-4e9a-a029-c4d0d5c5c3c7" providerId="ADAL" clId="{44B500CB-C1E5-418D-9BCB-E01CA21DD4A9}" dt="2023-11-06T09:45:54.302" v="52" actId="13926"/>
          <ac:spMkLst>
            <pc:docMk/>
            <pc:sldMk cId="282434247" sldId="2395"/>
            <ac:spMk id="3" creationId="{E9BBD3EE-C606-408E-8853-A8E4F45E02CE}"/>
          </ac:spMkLst>
        </pc:spChg>
        <pc:spChg chg="add del mod modVis">
          <ac:chgData name="Buyken  Maximilian (VPPL)" userId="6674c2ca-8f88-4e9a-a029-c4d0d5c5c3c7" providerId="ADAL" clId="{44B500CB-C1E5-418D-9BCB-E01CA21DD4A9}" dt="2023-11-06T09:45:00.663" v="47"/>
          <ac:spMkLst>
            <pc:docMk/>
            <pc:sldMk cId="282434247" sldId="2395"/>
            <ac:spMk id="7" creationId="{655BCF53-07FB-ABBB-3C2C-37F904022EE1}"/>
          </ac:spMkLst>
        </pc:spChg>
        <pc:graphicFrameChg chg="mod">
          <ac:chgData name="Buyken  Maximilian (VPPL)" userId="6674c2ca-8f88-4e9a-a029-c4d0d5c5c3c7" providerId="ADAL" clId="{44B500CB-C1E5-418D-9BCB-E01CA21DD4A9}" dt="2023-11-06T09:45:00.666" v="49"/>
          <ac:graphicFrameMkLst>
            <pc:docMk/>
            <pc:sldMk cId="282434247" sldId="2395"/>
            <ac:graphicFrameMk id="9" creationId="{8900C09A-BEC2-F04F-B75E-1370CB4A0336}"/>
          </ac:graphicFrameMkLst>
        </pc:graphicFrameChg>
      </pc:sldChg>
      <pc:sldChg chg="modSp mod addCm modCm">
        <pc:chgData name="Buyken  Maximilian (VPPL)" userId="6674c2ca-8f88-4e9a-a029-c4d0d5c5c3c7" providerId="ADAL" clId="{44B500CB-C1E5-418D-9BCB-E01CA21DD4A9}" dt="2023-11-06T10:35:20.401" v="391" actId="1036"/>
        <pc:sldMkLst>
          <pc:docMk/>
          <pc:sldMk cId="54911923" sldId="2398"/>
        </pc:sldMkLst>
        <pc:spChg chg="mod">
          <ac:chgData name="Buyken  Maximilian (VPPL)" userId="6674c2ca-8f88-4e9a-a029-c4d0d5c5c3c7" providerId="ADAL" clId="{44B500CB-C1E5-418D-9BCB-E01CA21DD4A9}" dt="2023-11-06T10:35:20.401" v="391" actId="1036"/>
          <ac:spMkLst>
            <pc:docMk/>
            <pc:sldMk cId="54911923" sldId="2398"/>
            <ac:spMk id="37" creationId="{166FA689-72C3-40C8-B811-164178E71FB6}"/>
          </ac:spMkLst>
        </pc:spChg>
      </pc:sldChg>
      <pc:sldChg chg="modSp mod addCm modCm">
        <pc:chgData name="Buyken  Maximilian (VPPL)" userId="6674c2ca-8f88-4e9a-a029-c4d0d5c5c3c7" providerId="ADAL" clId="{44B500CB-C1E5-418D-9BCB-E01CA21DD4A9}" dt="2023-11-06T10:36:08.645" v="392"/>
        <pc:sldMkLst>
          <pc:docMk/>
          <pc:sldMk cId="1257036896" sldId="2421"/>
        </pc:sldMkLst>
        <pc:spChg chg="mod">
          <ac:chgData name="Buyken  Maximilian (VPPL)" userId="6674c2ca-8f88-4e9a-a029-c4d0d5c5c3c7" providerId="ADAL" clId="{44B500CB-C1E5-418D-9BCB-E01CA21DD4A9}" dt="2023-11-06T09:50:46.334" v="59" actId="13926"/>
          <ac:spMkLst>
            <pc:docMk/>
            <pc:sldMk cId="1257036896" sldId="2421"/>
            <ac:spMk id="9" creationId="{9209AE63-3AA5-4052-B998-05A99361B659}"/>
          </ac:spMkLst>
        </pc:spChg>
      </pc:sldChg>
      <pc:sldChg chg="modSp mod">
        <pc:chgData name="Buyken  Maximilian (VPPL)" userId="6674c2ca-8f88-4e9a-a029-c4d0d5c5c3c7" providerId="ADAL" clId="{44B500CB-C1E5-418D-9BCB-E01CA21DD4A9}" dt="2023-11-06T08:33:20.892" v="18" actId="20577"/>
        <pc:sldMkLst>
          <pc:docMk/>
          <pc:sldMk cId="1289117044" sldId="2431"/>
        </pc:sldMkLst>
        <pc:spChg chg="mod">
          <ac:chgData name="Buyken  Maximilian (VPPL)" userId="6674c2ca-8f88-4e9a-a029-c4d0d5c5c3c7" providerId="ADAL" clId="{44B500CB-C1E5-418D-9BCB-E01CA21DD4A9}" dt="2023-11-06T08:33:20.892" v="18" actId="20577"/>
          <ac:spMkLst>
            <pc:docMk/>
            <pc:sldMk cId="1289117044" sldId="2431"/>
            <ac:spMk id="16" creationId="{610C0BC9-B539-4F72-A018-A02A8E404895}"/>
          </ac:spMkLst>
        </pc:spChg>
      </pc:sldChg>
      <pc:sldChg chg="modSp mod addCm">
        <pc:chgData name="Buyken  Maximilian (VPPL)" userId="6674c2ca-8f88-4e9a-a029-c4d0d5c5c3c7" providerId="ADAL" clId="{44B500CB-C1E5-418D-9BCB-E01CA21DD4A9}" dt="2023-11-06T10:27:11.532" v="385"/>
        <pc:sldMkLst>
          <pc:docMk/>
          <pc:sldMk cId="4240256703" sldId="2434"/>
        </pc:sldMkLst>
        <pc:graphicFrameChg chg="modGraphic">
          <ac:chgData name="Buyken  Maximilian (VPPL)" userId="6674c2ca-8f88-4e9a-a029-c4d0d5c5c3c7" providerId="ADAL" clId="{44B500CB-C1E5-418D-9BCB-E01CA21DD4A9}" dt="2023-11-06T10:24:54.121" v="383" actId="13926"/>
          <ac:graphicFrameMkLst>
            <pc:docMk/>
            <pc:sldMk cId="4240256703" sldId="2434"/>
            <ac:graphicFrameMk id="10" creationId="{0EF152D8-7E22-405A-9145-E64DA0C4FFB0}"/>
          </ac:graphicFrameMkLst>
        </pc:graphicFrameChg>
      </pc:sldChg>
      <pc:sldChg chg="modSp mod addCm">
        <pc:chgData name="Buyken  Maximilian (VPPL)" userId="6674c2ca-8f88-4e9a-a029-c4d0d5c5c3c7" providerId="ADAL" clId="{44B500CB-C1E5-418D-9BCB-E01CA21DD4A9}" dt="2023-11-06T10:38:18.027" v="394"/>
        <pc:sldMkLst>
          <pc:docMk/>
          <pc:sldMk cId="115161503" sldId="2437"/>
        </pc:sldMkLst>
        <pc:spChg chg="mod">
          <ac:chgData name="Buyken  Maximilian (VPPL)" userId="6674c2ca-8f88-4e9a-a029-c4d0d5c5c3c7" providerId="ADAL" clId="{44B500CB-C1E5-418D-9BCB-E01CA21DD4A9}" dt="2023-11-06T10:19:11.698" v="333" actId="13926"/>
          <ac:spMkLst>
            <pc:docMk/>
            <pc:sldMk cId="115161503" sldId="2437"/>
            <ac:spMk id="10" creationId="{00000000-0000-0000-0000-000000000000}"/>
          </ac:spMkLst>
        </pc:spChg>
      </pc:sldChg>
      <pc:sldChg chg="addCm">
        <pc:chgData name="Buyken  Maximilian (VPPL)" userId="6674c2ca-8f88-4e9a-a029-c4d0d5c5c3c7" providerId="ADAL" clId="{44B500CB-C1E5-418D-9BCB-E01CA21DD4A9}" dt="2023-11-06T10:07:57.400" v="330"/>
        <pc:sldMkLst>
          <pc:docMk/>
          <pc:sldMk cId="3420152249" sldId="2442"/>
        </pc:sldMkLst>
      </pc:sldChg>
      <pc:sldChg chg="addSp modSp mod addCm modCm">
        <pc:chgData name="Buyken  Maximilian (VPPL)" userId="6674c2ca-8f88-4e9a-a029-c4d0d5c5c3c7" providerId="ADAL" clId="{44B500CB-C1E5-418D-9BCB-E01CA21DD4A9}" dt="2023-11-06T10:02:23.834" v="320"/>
        <pc:sldMkLst>
          <pc:docMk/>
          <pc:sldMk cId="3191170877" sldId="2443"/>
        </pc:sldMkLst>
        <pc:spChg chg="mod">
          <ac:chgData name="Buyken  Maximilian (VPPL)" userId="6674c2ca-8f88-4e9a-a029-c4d0d5c5c3c7" providerId="ADAL" clId="{44B500CB-C1E5-418D-9BCB-E01CA21DD4A9}" dt="2023-11-06T10:01:04.521" v="306" actId="313"/>
          <ac:spMkLst>
            <pc:docMk/>
            <pc:sldMk cId="3191170877" sldId="2443"/>
            <ac:spMk id="3" creationId="{74ABCEC1-985B-1C66-2D33-43D74A38B600}"/>
          </ac:spMkLst>
        </pc:spChg>
        <pc:spChg chg="add mod">
          <ac:chgData name="Buyken  Maximilian (VPPL)" userId="6674c2ca-8f88-4e9a-a029-c4d0d5c5c3c7" providerId="ADAL" clId="{44B500CB-C1E5-418D-9BCB-E01CA21DD4A9}" dt="2023-11-06T10:01:55.036" v="315" actId="255"/>
          <ac:spMkLst>
            <pc:docMk/>
            <pc:sldMk cId="3191170877" sldId="2443"/>
            <ac:spMk id="10" creationId="{EE1D506E-5D02-8A5C-4A4B-3A6A063A5333}"/>
          </ac:spMkLst>
        </pc:spChg>
        <pc:spChg chg="add mod">
          <ac:chgData name="Buyken  Maximilian (VPPL)" userId="6674c2ca-8f88-4e9a-a029-c4d0d5c5c3c7" providerId="ADAL" clId="{44B500CB-C1E5-418D-9BCB-E01CA21DD4A9}" dt="2023-11-06T10:02:09.291" v="319" actId="20577"/>
          <ac:spMkLst>
            <pc:docMk/>
            <pc:sldMk cId="3191170877" sldId="2443"/>
            <ac:spMk id="11" creationId="{440EE002-4B69-87FC-507F-89631202D4D4}"/>
          </ac:spMkLst>
        </pc:spChg>
      </pc:sldChg>
      <pc:sldChg chg="modSp mod">
        <pc:chgData name="Buyken  Maximilian (VPPL)" userId="6674c2ca-8f88-4e9a-a029-c4d0d5c5c3c7" providerId="ADAL" clId="{44B500CB-C1E5-418D-9BCB-E01CA21DD4A9}" dt="2023-11-06T09:52:55.170" v="64" actId="114"/>
        <pc:sldMkLst>
          <pc:docMk/>
          <pc:sldMk cId="3213314599" sldId="2444"/>
        </pc:sldMkLst>
        <pc:spChg chg="mod">
          <ac:chgData name="Buyken  Maximilian (VPPL)" userId="6674c2ca-8f88-4e9a-a029-c4d0d5c5c3c7" providerId="ADAL" clId="{44B500CB-C1E5-418D-9BCB-E01CA21DD4A9}" dt="2023-11-06T09:52:55.170" v="64" actId="114"/>
          <ac:spMkLst>
            <pc:docMk/>
            <pc:sldMk cId="3213314599" sldId="2444"/>
            <ac:spMk id="3" creationId="{00000000-0000-0000-0000-000000000000}"/>
          </ac:spMkLst>
        </pc:spChg>
      </pc:sldChg>
      <pc:sldChg chg="modSp mod addCm modCm">
        <pc:chgData name="Buyken  Maximilian (VPPL)" userId="6674c2ca-8f88-4e9a-a029-c4d0d5c5c3c7" providerId="ADAL" clId="{44B500CB-C1E5-418D-9BCB-E01CA21DD4A9}" dt="2023-11-06T10:36:36.481" v="393"/>
        <pc:sldMkLst>
          <pc:docMk/>
          <pc:sldMk cId="687061124" sldId="2445"/>
        </pc:sldMkLst>
        <pc:spChg chg="mod">
          <ac:chgData name="Buyken  Maximilian (VPPL)" userId="6674c2ca-8f88-4e9a-a029-c4d0d5c5c3c7" providerId="ADAL" clId="{44B500CB-C1E5-418D-9BCB-E01CA21DD4A9}" dt="2023-11-06T09:58:32.546" v="295" actId="13926"/>
          <ac:spMkLst>
            <pc:docMk/>
            <pc:sldMk cId="687061124" sldId="2445"/>
            <ac:spMk id="3" creationId="{00000000-0000-0000-0000-000000000000}"/>
          </ac:spMkLst>
        </pc:spChg>
      </pc:sldChg>
      <pc:sldChg chg="modSp mod addCm">
        <pc:chgData name="Buyken  Maximilian (VPPL)" userId="6674c2ca-8f88-4e9a-a029-c4d0d5c5c3c7" providerId="ADAL" clId="{44B500CB-C1E5-418D-9BCB-E01CA21DD4A9}" dt="2023-11-06T10:07:16.163" v="329" actId="13926"/>
        <pc:sldMkLst>
          <pc:docMk/>
          <pc:sldMk cId="645604469" sldId="2446"/>
        </pc:sldMkLst>
        <pc:spChg chg="mod">
          <ac:chgData name="Buyken  Maximilian (VPPL)" userId="6674c2ca-8f88-4e9a-a029-c4d0d5c5c3c7" providerId="ADAL" clId="{44B500CB-C1E5-418D-9BCB-E01CA21DD4A9}" dt="2023-11-06T10:07:16.163" v="329" actId="13926"/>
          <ac:spMkLst>
            <pc:docMk/>
            <pc:sldMk cId="645604469" sldId="2446"/>
            <ac:spMk id="3" creationId="{CD164694-0894-5683-F43E-332E0F82F468}"/>
          </ac:spMkLst>
        </pc:spChg>
      </pc:sldChg>
      <pc:sldChg chg="modSp mod addCm">
        <pc:chgData name="Buyken  Maximilian (VPPL)" userId="6674c2ca-8f88-4e9a-a029-c4d0d5c5c3c7" providerId="ADAL" clId="{44B500CB-C1E5-418D-9BCB-E01CA21DD4A9}" dt="2023-11-06T10:05:07.397" v="324"/>
        <pc:sldMkLst>
          <pc:docMk/>
          <pc:sldMk cId="217941384" sldId="2447"/>
        </pc:sldMkLst>
        <pc:spChg chg="mod">
          <ac:chgData name="Buyken  Maximilian (VPPL)" userId="6674c2ca-8f88-4e9a-a029-c4d0d5c5c3c7" providerId="ADAL" clId="{44B500CB-C1E5-418D-9BCB-E01CA21DD4A9}" dt="2023-11-06T10:04:38.182" v="323" actId="13926"/>
          <ac:spMkLst>
            <pc:docMk/>
            <pc:sldMk cId="217941384" sldId="2447"/>
            <ac:spMk id="3" creationId="{00000000-0000-0000-0000-000000000000}"/>
          </ac:spMkLst>
        </pc:spChg>
      </pc:sldChg>
      <pc:sldChg chg="modSp mod addCm">
        <pc:chgData name="Buyken  Maximilian (VPPL)" userId="6674c2ca-8f88-4e9a-a029-c4d0d5c5c3c7" providerId="ADAL" clId="{44B500CB-C1E5-418D-9BCB-E01CA21DD4A9}" dt="2023-11-06T10:24:32.876" v="381"/>
        <pc:sldMkLst>
          <pc:docMk/>
          <pc:sldMk cId="1765676676" sldId="2448"/>
        </pc:sldMkLst>
        <pc:spChg chg="mod">
          <ac:chgData name="Buyken  Maximilian (VPPL)" userId="6674c2ca-8f88-4e9a-a029-c4d0d5c5c3c7" providerId="ADAL" clId="{44B500CB-C1E5-418D-9BCB-E01CA21DD4A9}" dt="2023-11-06T08:32:09.190" v="17" actId="13926"/>
          <ac:spMkLst>
            <pc:docMk/>
            <pc:sldMk cId="1765676676" sldId="2448"/>
            <ac:spMk id="3" creationId="{E9BBD3EE-C606-408E-8853-A8E4F45E02CE}"/>
          </ac:spMkLst>
        </pc:spChg>
      </pc:sldChg>
    </pc:docChg>
  </pc:docChgLst>
  <pc:docChgLst>
    <pc:chgData name="van Leeuwen  Sara (VPPL)" userId="7a5f1df4-0dd0-4c9e-a72f-a035cf318af6" providerId="ADAL" clId="{AEFF7DEE-6884-445A-9120-7BF993FA8936}"/>
    <pc:docChg chg="undo custSel modSld replTag">
      <pc:chgData name="van Leeuwen  Sara (VPPL)" userId="7a5f1df4-0dd0-4c9e-a72f-a035cf318af6" providerId="ADAL" clId="{AEFF7DEE-6884-445A-9120-7BF993FA8936}" dt="2023-11-17T10:46:27.909" v="1087"/>
      <pc:docMkLst>
        <pc:docMk/>
      </pc:docMkLst>
      <pc:sldChg chg="addSp delSp modSp mod delCm modCm">
        <pc:chgData name="van Leeuwen  Sara (VPPL)" userId="7a5f1df4-0dd0-4c9e-a72f-a035cf318af6" providerId="ADAL" clId="{AEFF7DEE-6884-445A-9120-7BF993FA8936}" dt="2023-11-17T09:54:11.294" v="915" actId="6549"/>
        <pc:sldMkLst>
          <pc:docMk/>
          <pc:sldMk cId="210407677" sldId="2350"/>
        </pc:sldMkLst>
        <pc:spChg chg="mod">
          <ac:chgData name="van Leeuwen  Sara (VPPL)" userId="7a5f1df4-0dd0-4c9e-a72f-a035cf318af6" providerId="ADAL" clId="{AEFF7DEE-6884-445A-9120-7BF993FA8936}" dt="2023-11-17T08:46:07.395" v="851" actId="948"/>
          <ac:spMkLst>
            <pc:docMk/>
            <pc:sldMk cId="210407677" sldId="2350"/>
            <ac:spMk id="2" creationId="{52558334-A345-4D81-9F4E-D052229C97C2}"/>
          </ac:spMkLst>
        </pc:spChg>
        <pc:spChg chg="add mod">
          <ac:chgData name="van Leeuwen  Sara (VPPL)" userId="7a5f1df4-0dd0-4c9e-a72f-a035cf318af6" providerId="ADAL" clId="{AEFF7DEE-6884-445A-9120-7BF993FA8936}" dt="2023-11-17T08:45:32.170" v="448"/>
          <ac:spMkLst>
            <pc:docMk/>
            <pc:sldMk cId="210407677" sldId="2350"/>
            <ac:spMk id="3" creationId="{723BB8B0-3216-5F05-ADD6-9B73AE911F92}"/>
          </ac:spMkLst>
        </pc:spChg>
        <pc:spChg chg="mod">
          <ac:chgData name="van Leeuwen  Sara (VPPL)" userId="7a5f1df4-0dd0-4c9e-a72f-a035cf318af6" providerId="ADAL" clId="{AEFF7DEE-6884-445A-9120-7BF993FA8936}" dt="2023-11-17T09:54:11.294" v="915" actId="6549"/>
          <ac:spMkLst>
            <pc:docMk/>
            <pc:sldMk cId="210407677" sldId="2350"/>
            <ac:spMk id="5" creationId="{20CBB855-862A-446C-A75E-1B38AEA6B736}"/>
          </ac:spMkLst>
        </pc:spChg>
        <pc:spChg chg="add del mod modVis">
          <ac:chgData name="van Leeuwen  Sara (VPPL)" userId="7a5f1df4-0dd0-4c9e-a72f-a035cf318af6" providerId="ADAL" clId="{AEFF7DEE-6884-445A-9120-7BF993FA8936}" dt="2023-11-17T08:45:39.287" v="477"/>
          <ac:spMkLst>
            <pc:docMk/>
            <pc:sldMk cId="210407677" sldId="2350"/>
            <ac:spMk id="6" creationId="{C726DD92-44E1-4B4A-683A-4C61395015EE}"/>
          </ac:spMkLst>
        </pc:spChg>
        <pc:spChg chg="add del mod modVis">
          <ac:chgData name="van Leeuwen  Sara (VPPL)" userId="7a5f1df4-0dd0-4c9e-a72f-a035cf318af6" providerId="ADAL" clId="{AEFF7DEE-6884-445A-9120-7BF993FA8936}" dt="2023-11-17T08:45:40.296" v="505"/>
          <ac:spMkLst>
            <pc:docMk/>
            <pc:sldMk cId="210407677" sldId="2350"/>
            <ac:spMk id="7" creationId="{80D4A5C2-CEB9-8AF6-D333-F1BDC96A07A7}"/>
          </ac:spMkLst>
        </pc:spChg>
        <pc:spChg chg="add del mod modVis">
          <ac:chgData name="van Leeuwen  Sara (VPPL)" userId="7a5f1df4-0dd0-4c9e-a72f-a035cf318af6" providerId="ADAL" clId="{AEFF7DEE-6884-445A-9120-7BF993FA8936}" dt="2023-11-17T08:45:41.022" v="534"/>
          <ac:spMkLst>
            <pc:docMk/>
            <pc:sldMk cId="210407677" sldId="2350"/>
            <ac:spMk id="8" creationId="{979CF875-3F49-9481-6E42-8002B8B41118}"/>
          </ac:spMkLst>
        </pc:spChg>
        <pc:spChg chg="add del mod modVis">
          <ac:chgData name="van Leeuwen  Sara (VPPL)" userId="7a5f1df4-0dd0-4c9e-a72f-a035cf318af6" providerId="ADAL" clId="{AEFF7DEE-6884-445A-9120-7BF993FA8936}" dt="2023-11-17T08:45:42.189" v="565"/>
          <ac:spMkLst>
            <pc:docMk/>
            <pc:sldMk cId="210407677" sldId="2350"/>
            <ac:spMk id="9" creationId="{968A3246-3905-10D9-422C-840FA8857F25}"/>
          </ac:spMkLst>
        </pc:spChg>
        <pc:spChg chg="add del mod modVis">
          <ac:chgData name="van Leeuwen  Sara (VPPL)" userId="7a5f1df4-0dd0-4c9e-a72f-a035cf318af6" providerId="ADAL" clId="{AEFF7DEE-6884-445A-9120-7BF993FA8936}" dt="2023-11-17T08:45:45.690" v="598"/>
          <ac:spMkLst>
            <pc:docMk/>
            <pc:sldMk cId="210407677" sldId="2350"/>
            <ac:spMk id="10" creationId="{ED1827FC-AFF1-E4AB-4E58-F8A103FAE071}"/>
          </ac:spMkLst>
        </pc:spChg>
        <pc:spChg chg="add del mod modVis">
          <ac:chgData name="van Leeuwen  Sara (VPPL)" userId="7a5f1df4-0dd0-4c9e-a72f-a035cf318af6" providerId="ADAL" clId="{AEFF7DEE-6884-445A-9120-7BF993FA8936}" dt="2023-11-17T08:45:47.886" v="634"/>
          <ac:spMkLst>
            <pc:docMk/>
            <pc:sldMk cId="210407677" sldId="2350"/>
            <ac:spMk id="11" creationId="{E87B1AE8-D12C-00FD-6C85-E0B01B74B4AF}"/>
          </ac:spMkLst>
        </pc:spChg>
        <pc:spChg chg="add del mod modVis">
          <ac:chgData name="van Leeuwen  Sara (VPPL)" userId="7a5f1df4-0dd0-4c9e-a72f-a035cf318af6" providerId="ADAL" clId="{AEFF7DEE-6884-445A-9120-7BF993FA8936}" dt="2023-11-17T08:45:51.856" v="665"/>
          <ac:spMkLst>
            <pc:docMk/>
            <pc:sldMk cId="210407677" sldId="2350"/>
            <ac:spMk id="12" creationId="{0D9EBA42-80F9-7BEF-D931-96DF9B54C91B}"/>
          </ac:spMkLst>
        </pc:spChg>
        <pc:spChg chg="add del mod modVis">
          <ac:chgData name="van Leeuwen  Sara (VPPL)" userId="7a5f1df4-0dd0-4c9e-a72f-a035cf318af6" providerId="ADAL" clId="{AEFF7DEE-6884-445A-9120-7BF993FA8936}" dt="2023-11-17T08:45:53.732" v="696"/>
          <ac:spMkLst>
            <pc:docMk/>
            <pc:sldMk cId="210407677" sldId="2350"/>
            <ac:spMk id="13" creationId="{AD0AE5DE-8B86-2F7E-F283-6AEF8AE80340}"/>
          </ac:spMkLst>
        </pc:spChg>
        <pc:spChg chg="add del mod modVis">
          <ac:chgData name="van Leeuwen  Sara (VPPL)" userId="7a5f1df4-0dd0-4c9e-a72f-a035cf318af6" providerId="ADAL" clId="{AEFF7DEE-6884-445A-9120-7BF993FA8936}" dt="2023-11-17T08:45:57.297" v="726"/>
          <ac:spMkLst>
            <pc:docMk/>
            <pc:sldMk cId="210407677" sldId="2350"/>
            <ac:spMk id="14" creationId="{CA3B824D-EC54-2D72-8522-8CEC6E09810A}"/>
          </ac:spMkLst>
        </pc:spChg>
        <pc:spChg chg="add del mod modVis">
          <ac:chgData name="van Leeuwen  Sara (VPPL)" userId="7a5f1df4-0dd0-4c9e-a72f-a035cf318af6" providerId="ADAL" clId="{AEFF7DEE-6884-445A-9120-7BF993FA8936}" dt="2023-11-17T08:45:58.084" v="753"/>
          <ac:spMkLst>
            <pc:docMk/>
            <pc:sldMk cId="210407677" sldId="2350"/>
            <ac:spMk id="15" creationId="{37F3BA4D-6D22-775F-2C9B-9C63607FA47A}"/>
          </ac:spMkLst>
        </pc:spChg>
        <pc:spChg chg="add del mod modVis">
          <ac:chgData name="van Leeuwen  Sara (VPPL)" userId="7a5f1df4-0dd0-4c9e-a72f-a035cf318af6" providerId="ADAL" clId="{AEFF7DEE-6884-445A-9120-7BF993FA8936}" dt="2023-11-17T08:45:59.250" v="787"/>
          <ac:spMkLst>
            <pc:docMk/>
            <pc:sldMk cId="210407677" sldId="2350"/>
            <ac:spMk id="16" creationId="{0FB51D65-57A3-A796-41C8-EFE6440AAC1C}"/>
          </ac:spMkLst>
        </pc:spChg>
        <pc:spChg chg="add del mod modVis">
          <ac:chgData name="van Leeuwen  Sara (VPPL)" userId="7a5f1df4-0dd0-4c9e-a72f-a035cf318af6" providerId="ADAL" clId="{AEFF7DEE-6884-445A-9120-7BF993FA8936}" dt="2023-11-17T08:46:00.006" v="816"/>
          <ac:spMkLst>
            <pc:docMk/>
            <pc:sldMk cId="210407677" sldId="2350"/>
            <ac:spMk id="17" creationId="{27C3EAE1-7711-18FE-BA0C-1C1F93080F7C}"/>
          </ac:spMkLst>
        </pc:spChg>
        <pc:spChg chg="add del mod modVis">
          <ac:chgData name="van Leeuwen  Sara (VPPL)" userId="7a5f1df4-0dd0-4c9e-a72f-a035cf318af6" providerId="ADAL" clId="{AEFF7DEE-6884-445A-9120-7BF993FA8936}" dt="2023-11-17T08:46:01.385" v="846"/>
          <ac:spMkLst>
            <pc:docMk/>
            <pc:sldMk cId="210407677" sldId="2350"/>
            <ac:spMk id="18" creationId="{74E71C0E-4A77-A470-C0C1-BA46C3FA42AC}"/>
          </ac:spMkLst>
        </pc:spChg>
        <pc:spChg chg="add del mod modVis">
          <ac:chgData name="van Leeuwen  Sara (VPPL)" userId="7a5f1df4-0dd0-4c9e-a72f-a035cf318af6" providerId="ADAL" clId="{AEFF7DEE-6884-445A-9120-7BF993FA8936}" dt="2023-11-17T08:46:07.411" v="874"/>
          <ac:spMkLst>
            <pc:docMk/>
            <pc:sldMk cId="210407677" sldId="2350"/>
            <ac:spMk id="19" creationId="{2A3BD6A5-5190-55E6-9803-1C4CE6E63399}"/>
          </ac:spMkLst>
        </pc:spChg>
        <pc:graphicFrameChg chg="mod">
          <ac:chgData name="van Leeuwen  Sara (VPPL)" userId="7a5f1df4-0dd0-4c9e-a72f-a035cf318af6" providerId="ADAL" clId="{AEFF7DEE-6884-445A-9120-7BF993FA8936}" dt="2023-11-17T08:46:07.411" v="876"/>
          <ac:graphicFrameMkLst>
            <pc:docMk/>
            <pc:sldMk cId="210407677" sldId="2350"/>
            <ac:graphicFrameMk id="4" creationId="{1FE7B902-01C5-279F-716C-D4818AF88DEB}"/>
          </ac:graphicFrameMkLst>
        </pc:graphicFrameChg>
      </pc:sldChg>
      <pc:sldChg chg="modSp mod delCm modCm">
        <pc:chgData name="van Leeuwen  Sara (VPPL)" userId="7a5f1df4-0dd0-4c9e-a72f-a035cf318af6" providerId="ADAL" clId="{AEFF7DEE-6884-445A-9120-7BF993FA8936}" dt="2023-11-17T08:45:03.172" v="447" actId="6549"/>
        <pc:sldMkLst>
          <pc:docMk/>
          <pc:sldMk cId="1900787555" sldId="2369"/>
        </pc:sldMkLst>
        <pc:spChg chg="mod">
          <ac:chgData name="van Leeuwen  Sara (VPPL)" userId="7a5f1df4-0dd0-4c9e-a72f-a035cf318af6" providerId="ADAL" clId="{AEFF7DEE-6884-445A-9120-7BF993FA8936}" dt="2023-11-17T08:45:03.172" v="447" actId="6549"/>
          <ac:spMkLst>
            <pc:docMk/>
            <pc:sldMk cId="1900787555" sldId="2369"/>
            <ac:spMk id="3" creationId="{D248A836-D270-48AC-93BC-E789F2E8E734}"/>
          </ac:spMkLst>
        </pc:spChg>
      </pc:sldChg>
      <pc:sldChg chg="addSp delSp modSp mod delCm modCm">
        <pc:chgData name="van Leeuwen  Sara (VPPL)" userId="7a5f1df4-0dd0-4c9e-a72f-a035cf318af6" providerId="ADAL" clId="{AEFF7DEE-6884-445A-9120-7BF993FA8936}" dt="2023-11-17T08:20:53.322" v="230"/>
        <pc:sldMkLst>
          <pc:docMk/>
          <pc:sldMk cId="282434247" sldId="2395"/>
        </pc:sldMkLst>
        <pc:spChg chg="mod">
          <ac:chgData name="van Leeuwen  Sara (VPPL)" userId="7a5f1df4-0dd0-4c9e-a72f-a035cf318af6" providerId="ADAL" clId="{AEFF7DEE-6884-445A-9120-7BF993FA8936}" dt="2023-11-17T08:12:24.633" v="148" actId="948"/>
          <ac:spMkLst>
            <pc:docMk/>
            <pc:sldMk cId="282434247" sldId="2395"/>
            <ac:spMk id="2" creationId="{C2543CB6-7CCE-4092-94E2-1F9AF86C92CD}"/>
          </ac:spMkLst>
        </pc:spChg>
        <pc:spChg chg="mod">
          <ac:chgData name="van Leeuwen  Sara (VPPL)" userId="7a5f1df4-0dd0-4c9e-a72f-a035cf318af6" providerId="ADAL" clId="{AEFF7DEE-6884-445A-9120-7BF993FA8936}" dt="2023-11-17T08:20:50.692" v="229" actId="13926"/>
          <ac:spMkLst>
            <pc:docMk/>
            <pc:sldMk cId="282434247" sldId="2395"/>
            <ac:spMk id="3" creationId="{E9BBD3EE-C606-408E-8853-A8E4F45E02CE}"/>
          </ac:spMkLst>
        </pc:spChg>
        <pc:spChg chg="add del mod modVis">
          <ac:chgData name="van Leeuwen  Sara (VPPL)" userId="7a5f1df4-0dd0-4c9e-a72f-a035cf318af6" providerId="ADAL" clId="{AEFF7DEE-6884-445A-9120-7BF993FA8936}" dt="2023-11-17T08:12:22.110" v="144"/>
          <ac:spMkLst>
            <pc:docMk/>
            <pc:sldMk cId="282434247" sldId="2395"/>
            <ac:spMk id="7" creationId="{BC4B804B-4911-BF99-CBBF-42D5DFB4FD97}"/>
          </ac:spMkLst>
        </pc:spChg>
        <pc:spChg chg="add del mod modVis">
          <ac:chgData name="van Leeuwen  Sara (VPPL)" userId="7a5f1df4-0dd0-4c9e-a72f-a035cf318af6" providerId="ADAL" clId="{AEFF7DEE-6884-445A-9120-7BF993FA8936}" dt="2023-11-17T08:12:24.649" v="171"/>
          <ac:spMkLst>
            <pc:docMk/>
            <pc:sldMk cId="282434247" sldId="2395"/>
            <ac:spMk id="8" creationId="{37680A33-C9DB-C581-9A23-41CC4DA7CA2B}"/>
          </ac:spMkLst>
        </pc:spChg>
        <pc:graphicFrameChg chg="mod">
          <ac:chgData name="van Leeuwen  Sara (VPPL)" userId="7a5f1df4-0dd0-4c9e-a72f-a035cf318af6" providerId="ADAL" clId="{AEFF7DEE-6884-445A-9120-7BF993FA8936}" dt="2023-11-17T08:12:24.649" v="173"/>
          <ac:graphicFrameMkLst>
            <pc:docMk/>
            <pc:sldMk cId="282434247" sldId="2395"/>
            <ac:graphicFrameMk id="9" creationId="{8900C09A-BEC2-F04F-B75E-1370CB4A0336}"/>
          </ac:graphicFrameMkLst>
        </pc:graphicFrameChg>
      </pc:sldChg>
      <pc:sldChg chg="modSp mod delCm modCm">
        <pc:chgData name="van Leeuwen  Sara (VPPL)" userId="7a5f1df4-0dd0-4c9e-a72f-a035cf318af6" providerId="ADAL" clId="{AEFF7DEE-6884-445A-9120-7BF993FA8936}" dt="2023-11-17T10:40:53.313" v="921" actId="20577"/>
        <pc:sldMkLst>
          <pc:docMk/>
          <pc:sldMk cId="54911923" sldId="2398"/>
        </pc:sldMkLst>
        <pc:spChg chg="mod">
          <ac:chgData name="van Leeuwen  Sara (VPPL)" userId="7a5f1df4-0dd0-4c9e-a72f-a035cf318af6" providerId="ADAL" clId="{AEFF7DEE-6884-445A-9120-7BF993FA8936}" dt="2023-11-17T10:40:53.313" v="921" actId="20577"/>
          <ac:spMkLst>
            <pc:docMk/>
            <pc:sldMk cId="54911923" sldId="2398"/>
            <ac:spMk id="37" creationId="{166FA689-72C3-40C8-B811-164178E71FB6}"/>
          </ac:spMkLst>
        </pc:spChg>
      </pc:sldChg>
      <pc:sldChg chg="addSp delSp modSp mod delCm">
        <pc:chgData name="van Leeuwen  Sara (VPPL)" userId="7a5f1df4-0dd0-4c9e-a72f-a035cf318af6" providerId="ADAL" clId="{AEFF7DEE-6884-445A-9120-7BF993FA8936}" dt="2023-11-17T10:45:57.200" v="949"/>
        <pc:sldMkLst>
          <pc:docMk/>
          <pc:sldMk cId="1257036896" sldId="2421"/>
        </pc:sldMkLst>
        <pc:spChg chg="add del mod modVis">
          <ac:chgData name="van Leeuwen  Sara (VPPL)" userId="7a5f1df4-0dd0-4c9e-a72f-a035cf318af6" providerId="ADAL" clId="{AEFF7DEE-6884-445A-9120-7BF993FA8936}" dt="2023-11-17T10:45:57.200" v="947"/>
          <ac:spMkLst>
            <pc:docMk/>
            <pc:sldMk cId="1257036896" sldId="2421"/>
            <ac:spMk id="2" creationId="{B1B08A57-B859-438E-8CCC-FAAC51838622}"/>
          </ac:spMkLst>
        </pc:spChg>
        <pc:spChg chg="mod">
          <ac:chgData name="van Leeuwen  Sara (VPPL)" userId="7a5f1df4-0dd0-4c9e-a72f-a035cf318af6" providerId="ADAL" clId="{AEFF7DEE-6884-445A-9120-7BF993FA8936}" dt="2023-11-17T10:45:57.169" v="924" actId="948"/>
          <ac:spMkLst>
            <pc:docMk/>
            <pc:sldMk cId="1257036896" sldId="2421"/>
            <ac:spMk id="8" creationId="{7615A340-A42F-4355-AF9F-1FA9C8C871B5}"/>
          </ac:spMkLst>
        </pc:spChg>
        <pc:spChg chg="mod">
          <ac:chgData name="van Leeuwen  Sara (VPPL)" userId="7a5f1df4-0dd0-4c9e-a72f-a035cf318af6" providerId="ADAL" clId="{AEFF7DEE-6884-445A-9120-7BF993FA8936}" dt="2023-11-17T10:34:19.412" v="917" actId="13926"/>
          <ac:spMkLst>
            <pc:docMk/>
            <pc:sldMk cId="1257036896" sldId="2421"/>
            <ac:spMk id="9" creationId="{9209AE63-3AA5-4052-B998-05A99361B659}"/>
          </ac:spMkLst>
        </pc:spChg>
        <pc:graphicFrameChg chg="mod">
          <ac:chgData name="van Leeuwen  Sara (VPPL)" userId="7a5f1df4-0dd0-4c9e-a72f-a035cf318af6" providerId="ADAL" clId="{AEFF7DEE-6884-445A-9120-7BF993FA8936}" dt="2023-11-17T10:45:57.200" v="949"/>
          <ac:graphicFrameMkLst>
            <pc:docMk/>
            <pc:sldMk cId="1257036896" sldId="2421"/>
            <ac:graphicFrameMk id="3" creationId="{5755A7B0-3099-8ED9-DD67-7FDA65BEA332}"/>
          </ac:graphicFrameMkLst>
        </pc:graphicFrameChg>
      </pc:sldChg>
      <pc:sldChg chg="modSp mod delCm modCm">
        <pc:chgData name="van Leeuwen  Sara (VPPL)" userId="7a5f1df4-0dd0-4c9e-a72f-a035cf318af6" providerId="ADAL" clId="{AEFF7DEE-6884-445A-9120-7BF993FA8936}" dt="2023-11-17T08:12:01.111" v="103" actId="33524"/>
        <pc:sldMkLst>
          <pc:docMk/>
          <pc:sldMk cId="4240256703" sldId="2434"/>
        </pc:sldMkLst>
        <pc:graphicFrameChg chg="modGraphic">
          <ac:chgData name="van Leeuwen  Sara (VPPL)" userId="7a5f1df4-0dd0-4c9e-a72f-a035cf318af6" providerId="ADAL" clId="{AEFF7DEE-6884-445A-9120-7BF993FA8936}" dt="2023-11-17T08:12:01.111" v="103" actId="33524"/>
          <ac:graphicFrameMkLst>
            <pc:docMk/>
            <pc:sldMk cId="4240256703" sldId="2434"/>
            <ac:graphicFrameMk id="10" creationId="{0EF152D8-7E22-405A-9145-E64DA0C4FFB0}"/>
          </ac:graphicFrameMkLst>
        </pc:graphicFrameChg>
      </pc:sldChg>
      <pc:sldChg chg="modSp mod delCm modCm">
        <pc:chgData name="van Leeuwen  Sara (VPPL)" userId="7a5f1df4-0dd0-4c9e-a72f-a035cf318af6" providerId="ADAL" clId="{AEFF7DEE-6884-445A-9120-7BF993FA8936}" dt="2023-11-17T08:41:44.287" v="313" actId="13926"/>
        <pc:sldMkLst>
          <pc:docMk/>
          <pc:sldMk cId="115161503" sldId="2437"/>
        </pc:sldMkLst>
        <pc:spChg chg="mod">
          <ac:chgData name="van Leeuwen  Sara (VPPL)" userId="7a5f1df4-0dd0-4c9e-a72f-a035cf318af6" providerId="ADAL" clId="{AEFF7DEE-6884-445A-9120-7BF993FA8936}" dt="2023-11-17T08:41:44.287" v="313" actId="13926"/>
          <ac:spMkLst>
            <pc:docMk/>
            <pc:sldMk cId="115161503" sldId="2437"/>
            <ac:spMk id="10" creationId="{00000000-0000-0000-0000-000000000000}"/>
          </ac:spMkLst>
        </pc:spChg>
      </pc:sldChg>
      <pc:sldChg chg="addSp delSp modSp mod delCm">
        <pc:chgData name="van Leeuwen  Sara (VPPL)" userId="7a5f1df4-0dd0-4c9e-a72f-a035cf318af6" providerId="ADAL" clId="{AEFF7DEE-6884-445A-9120-7BF993FA8936}" dt="2023-11-17T10:46:27.909" v="1087"/>
        <pc:sldMkLst>
          <pc:docMk/>
          <pc:sldMk cId="3420152249" sldId="2442"/>
        </pc:sldMkLst>
        <pc:spChg chg="mod">
          <ac:chgData name="van Leeuwen  Sara (VPPL)" userId="7a5f1df4-0dd0-4c9e-a72f-a035cf318af6" providerId="ADAL" clId="{AEFF7DEE-6884-445A-9120-7BF993FA8936}" dt="2023-11-17T10:46:27.893" v="1062" actId="948"/>
          <ac:spMkLst>
            <pc:docMk/>
            <pc:sldMk cId="3420152249" sldId="2442"/>
            <ac:spMk id="2" creationId="{00000000-0000-0000-0000-000000000000}"/>
          </ac:spMkLst>
        </pc:spChg>
        <pc:spChg chg="add del mod modVis">
          <ac:chgData name="van Leeuwen  Sara (VPPL)" userId="7a5f1df4-0dd0-4c9e-a72f-a035cf318af6" providerId="ADAL" clId="{AEFF7DEE-6884-445A-9120-7BF993FA8936}" dt="2023-11-17T10:46:23.936" v="1030"/>
          <ac:spMkLst>
            <pc:docMk/>
            <pc:sldMk cId="3420152249" sldId="2442"/>
            <ac:spMk id="7" creationId="{E4088C5D-08E1-5D08-0ED7-8D3D423479E4}"/>
          </ac:spMkLst>
        </pc:spChg>
        <pc:spChg chg="add del mod modVis">
          <ac:chgData name="van Leeuwen  Sara (VPPL)" userId="7a5f1df4-0dd0-4c9e-a72f-a035cf318af6" providerId="ADAL" clId="{AEFF7DEE-6884-445A-9120-7BF993FA8936}" dt="2023-11-17T10:46:24.524" v="1057"/>
          <ac:spMkLst>
            <pc:docMk/>
            <pc:sldMk cId="3420152249" sldId="2442"/>
            <ac:spMk id="8" creationId="{9AAA1C73-931F-B234-AAA5-7C6553B1DA47}"/>
          </ac:spMkLst>
        </pc:spChg>
        <pc:spChg chg="add del mod modVis">
          <ac:chgData name="van Leeuwen  Sara (VPPL)" userId="7a5f1df4-0dd0-4c9e-a72f-a035cf318af6" providerId="ADAL" clId="{AEFF7DEE-6884-445A-9120-7BF993FA8936}" dt="2023-11-17T10:46:27.909" v="1085"/>
          <ac:spMkLst>
            <pc:docMk/>
            <pc:sldMk cId="3420152249" sldId="2442"/>
            <ac:spMk id="10" creationId="{2F9DEAEA-F337-CB12-E1BE-4AA01EA0073D}"/>
          </ac:spMkLst>
        </pc:spChg>
        <pc:graphicFrameChg chg="mod">
          <ac:chgData name="van Leeuwen  Sara (VPPL)" userId="7a5f1df4-0dd0-4c9e-a72f-a035cf318af6" providerId="ADAL" clId="{AEFF7DEE-6884-445A-9120-7BF993FA8936}" dt="2023-11-17T10:46:27.909" v="1087"/>
          <ac:graphicFrameMkLst>
            <pc:docMk/>
            <pc:sldMk cId="3420152249" sldId="2442"/>
            <ac:graphicFrameMk id="5" creationId="{6CD3BF2A-4B05-1D82-BE24-6EDADE277B81}"/>
          </ac:graphicFrameMkLst>
        </pc:graphicFrameChg>
      </pc:sldChg>
      <pc:sldChg chg="addSp delSp modSp mod delCm modCm">
        <pc:chgData name="van Leeuwen  Sara (VPPL)" userId="7a5f1df4-0dd0-4c9e-a72f-a035cf318af6" providerId="ADAL" clId="{AEFF7DEE-6884-445A-9120-7BF993FA8936}" dt="2023-11-17T10:46:12.942" v="1005"/>
        <pc:sldMkLst>
          <pc:docMk/>
          <pc:sldMk cId="3191170877" sldId="2443"/>
        </pc:sldMkLst>
        <pc:spChg chg="mod">
          <ac:chgData name="van Leeuwen  Sara (VPPL)" userId="7a5f1df4-0dd0-4c9e-a72f-a035cf318af6" providerId="ADAL" clId="{AEFF7DEE-6884-445A-9120-7BF993FA8936}" dt="2023-11-17T10:46:12.927" v="980" actId="948"/>
          <ac:spMkLst>
            <pc:docMk/>
            <pc:sldMk cId="3191170877" sldId="2443"/>
            <ac:spMk id="2" creationId="{690BD18C-4CB3-58F7-B41A-F4746B7DAA6D}"/>
          </ac:spMkLst>
        </pc:spChg>
        <pc:spChg chg="mod">
          <ac:chgData name="van Leeuwen  Sara (VPPL)" userId="7a5f1df4-0dd0-4c9e-a72f-a035cf318af6" providerId="ADAL" clId="{AEFF7DEE-6884-445A-9120-7BF993FA8936}" dt="2023-11-17T08:25:37.659" v="258" actId="13926"/>
          <ac:spMkLst>
            <pc:docMk/>
            <pc:sldMk cId="3191170877" sldId="2443"/>
            <ac:spMk id="3" creationId="{74ABCEC1-985B-1C66-2D33-43D74A38B600}"/>
          </ac:spMkLst>
        </pc:spChg>
        <pc:spChg chg="add del mod modVis">
          <ac:chgData name="van Leeuwen  Sara (VPPL)" userId="7a5f1df4-0dd0-4c9e-a72f-a035cf318af6" providerId="ADAL" clId="{AEFF7DEE-6884-445A-9120-7BF993FA8936}" dt="2023-11-17T10:46:09.363" v="975"/>
          <ac:spMkLst>
            <pc:docMk/>
            <pc:sldMk cId="3191170877" sldId="2443"/>
            <ac:spMk id="7" creationId="{E1B607C8-5027-A19C-C401-5DAA36F89F42}"/>
          </ac:spMkLst>
        </pc:spChg>
        <pc:spChg chg="add del mod modVis">
          <ac:chgData name="van Leeuwen  Sara (VPPL)" userId="7a5f1df4-0dd0-4c9e-a72f-a035cf318af6" providerId="ADAL" clId="{AEFF7DEE-6884-445A-9120-7BF993FA8936}" dt="2023-11-17T10:46:12.942" v="1003"/>
          <ac:spMkLst>
            <pc:docMk/>
            <pc:sldMk cId="3191170877" sldId="2443"/>
            <ac:spMk id="12" creationId="{C5428069-1DE2-E840-F6ED-013547CD8D8F}"/>
          </ac:spMkLst>
        </pc:spChg>
        <pc:graphicFrameChg chg="mod">
          <ac:chgData name="van Leeuwen  Sara (VPPL)" userId="7a5f1df4-0dd0-4c9e-a72f-a035cf318af6" providerId="ADAL" clId="{AEFF7DEE-6884-445A-9120-7BF993FA8936}" dt="2023-11-17T10:46:12.942" v="1005"/>
          <ac:graphicFrameMkLst>
            <pc:docMk/>
            <pc:sldMk cId="3191170877" sldId="2443"/>
            <ac:graphicFrameMk id="8" creationId="{FF86D724-693B-0D9D-47EA-2D497893D3B1}"/>
          </ac:graphicFrameMkLst>
        </pc:graphicFrameChg>
      </pc:sldChg>
      <pc:sldChg chg="modSp mod delCm">
        <pc:chgData name="van Leeuwen  Sara (VPPL)" userId="7a5f1df4-0dd0-4c9e-a72f-a035cf318af6" providerId="ADAL" clId="{AEFF7DEE-6884-445A-9120-7BF993FA8936}" dt="2023-11-17T08:24:46.745" v="250"/>
        <pc:sldMkLst>
          <pc:docMk/>
          <pc:sldMk cId="687061124" sldId="2445"/>
        </pc:sldMkLst>
        <pc:spChg chg="mod">
          <ac:chgData name="van Leeuwen  Sara (VPPL)" userId="7a5f1df4-0dd0-4c9e-a72f-a035cf318af6" providerId="ADAL" clId="{AEFF7DEE-6884-445A-9120-7BF993FA8936}" dt="2023-11-17T08:23:51.540" v="249" actId="13926"/>
          <ac:spMkLst>
            <pc:docMk/>
            <pc:sldMk cId="687061124" sldId="2445"/>
            <ac:spMk id="3" creationId="{00000000-0000-0000-0000-000000000000}"/>
          </ac:spMkLst>
        </pc:spChg>
      </pc:sldChg>
      <pc:sldChg chg="modSp mod delCm modCm">
        <pc:chgData name="van Leeuwen  Sara (VPPL)" userId="7a5f1df4-0dd0-4c9e-a72f-a035cf318af6" providerId="ADAL" clId="{AEFF7DEE-6884-445A-9120-7BF993FA8936}" dt="2023-11-17T08:37:53.964" v="308"/>
        <pc:sldMkLst>
          <pc:docMk/>
          <pc:sldMk cId="645604469" sldId="2446"/>
        </pc:sldMkLst>
        <pc:spChg chg="mod">
          <ac:chgData name="van Leeuwen  Sara (VPPL)" userId="7a5f1df4-0dd0-4c9e-a72f-a035cf318af6" providerId="ADAL" clId="{AEFF7DEE-6884-445A-9120-7BF993FA8936}" dt="2023-11-17T08:37:51.710" v="307" actId="13926"/>
          <ac:spMkLst>
            <pc:docMk/>
            <pc:sldMk cId="645604469" sldId="2446"/>
            <ac:spMk id="3" creationId="{CD164694-0894-5683-F43E-332E0F82F468}"/>
          </ac:spMkLst>
        </pc:spChg>
      </pc:sldChg>
      <pc:sldChg chg="modSp mod delCm modCm">
        <pc:chgData name="van Leeuwen  Sara (VPPL)" userId="7a5f1df4-0dd0-4c9e-a72f-a035cf318af6" providerId="ADAL" clId="{AEFF7DEE-6884-445A-9120-7BF993FA8936}" dt="2023-11-17T08:28:37.241" v="302" actId="13926"/>
        <pc:sldMkLst>
          <pc:docMk/>
          <pc:sldMk cId="217941384" sldId="2447"/>
        </pc:sldMkLst>
        <pc:spChg chg="mod">
          <ac:chgData name="van Leeuwen  Sara (VPPL)" userId="7a5f1df4-0dd0-4c9e-a72f-a035cf318af6" providerId="ADAL" clId="{AEFF7DEE-6884-445A-9120-7BF993FA8936}" dt="2023-11-17T08:28:37.241" v="302" actId="13926"/>
          <ac:spMkLst>
            <pc:docMk/>
            <pc:sldMk cId="217941384" sldId="2447"/>
            <ac:spMk id="3" creationId="{00000000-0000-0000-0000-000000000000}"/>
          </ac:spMkLst>
        </pc:spChg>
      </pc:sldChg>
      <pc:sldChg chg="modSp mod delCm modCm">
        <pc:chgData name="van Leeuwen  Sara (VPPL)" userId="7a5f1df4-0dd0-4c9e-a72f-a035cf318af6" providerId="ADAL" clId="{AEFF7DEE-6884-445A-9120-7BF993FA8936}" dt="2023-11-17T08:07:30.325" v="46"/>
        <pc:sldMkLst>
          <pc:docMk/>
          <pc:sldMk cId="1765676676" sldId="2448"/>
        </pc:sldMkLst>
        <pc:spChg chg="mod">
          <ac:chgData name="van Leeuwen  Sara (VPPL)" userId="7a5f1df4-0dd0-4c9e-a72f-a035cf318af6" providerId="ADAL" clId="{AEFF7DEE-6884-445A-9120-7BF993FA8936}" dt="2023-11-17T08:07:09.940" v="44" actId="13926"/>
          <ac:spMkLst>
            <pc:docMk/>
            <pc:sldMk cId="1765676676" sldId="2448"/>
            <ac:spMk id="3" creationId="{E9BBD3EE-C606-408E-8853-A8E4F45E02CE}"/>
          </ac:spMkLst>
        </pc:spChg>
      </pc:sldChg>
    </pc:docChg>
  </pc:docChgLst>
  <pc:docChgLst>
    <pc:chgData name="van Leeuwen  Sara (VPPL)" userId="7a5f1df4-0dd0-4c9e-a72f-a035cf318af6" providerId="ADAL" clId="{8DFD1520-366F-44F1-AB6E-0C9E9C3950EA}"/>
    <pc:docChg chg="custSel modSld replTag">
      <pc:chgData name="van Leeuwen  Sara (VPPL)" userId="7a5f1df4-0dd0-4c9e-a72f-a035cf318af6" providerId="ADAL" clId="{8DFD1520-366F-44F1-AB6E-0C9E9C3950EA}" dt="2023-11-22T13:35:39.046" v="38" actId="20577"/>
      <pc:docMkLst>
        <pc:docMk/>
      </pc:docMkLst>
      <pc:sldChg chg="modSp mod">
        <pc:chgData name="van Leeuwen  Sara (VPPL)" userId="7a5f1df4-0dd0-4c9e-a72f-a035cf318af6" providerId="ADAL" clId="{8DFD1520-366F-44F1-AB6E-0C9E9C3950EA}" dt="2023-11-22T13:35:39.046" v="38" actId="20577"/>
        <pc:sldMkLst>
          <pc:docMk/>
          <pc:sldMk cId="1769867695" sldId="2392"/>
        </pc:sldMkLst>
        <pc:graphicFrameChg chg="modGraphic">
          <ac:chgData name="van Leeuwen  Sara (VPPL)" userId="7a5f1df4-0dd0-4c9e-a72f-a035cf318af6" providerId="ADAL" clId="{8DFD1520-366F-44F1-AB6E-0C9E9C3950EA}" dt="2023-11-22T13:35:39.046" v="38" actId="20577"/>
          <ac:graphicFrameMkLst>
            <pc:docMk/>
            <pc:sldMk cId="1769867695" sldId="2392"/>
            <ac:graphicFrameMk id="10" creationId="{9B7E8B9D-5F9A-4F11-B14F-FECAB6CF2579}"/>
          </ac:graphicFrameMkLst>
        </pc:graphicFrameChg>
      </pc:sldChg>
      <pc:sldChg chg="modSp mod">
        <pc:chgData name="van Leeuwen  Sara (VPPL)" userId="7a5f1df4-0dd0-4c9e-a72f-a035cf318af6" providerId="ADAL" clId="{8DFD1520-366F-44F1-AB6E-0C9E9C3950EA}" dt="2023-11-17T13:36:49.498" v="2" actId="12"/>
        <pc:sldMkLst>
          <pc:docMk/>
          <pc:sldMk cId="2631741042" sldId="2394"/>
        </pc:sldMkLst>
        <pc:spChg chg="mod">
          <ac:chgData name="van Leeuwen  Sara (VPPL)" userId="7a5f1df4-0dd0-4c9e-a72f-a035cf318af6" providerId="ADAL" clId="{8DFD1520-366F-44F1-AB6E-0C9E9C3950EA}" dt="2023-11-17T13:36:49.498" v="2" actId="12"/>
          <ac:spMkLst>
            <pc:docMk/>
            <pc:sldMk cId="2631741042" sldId="2394"/>
            <ac:spMk id="3" creationId="{E9BBD3EE-C606-408E-8853-A8E4F45E02CE}"/>
          </ac:spMkLst>
        </pc:spChg>
      </pc:sldChg>
      <pc:sldChg chg="modSp mod">
        <pc:chgData name="van Leeuwen  Sara (VPPL)" userId="7a5f1df4-0dd0-4c9e-a72f-a035cf318af6" providerId="ADAL" clId="{8DFD1520-366F-44F1-AB6E-0C9E9C3950EA}" dt="2023-11-22T13:24:51.827" v="31"/>
        <pc:sldMkLst>
          <pc:docMk/>
          <pc:sldMk cId="1257036896" sldId="2421"/>
        </pc:sldMkLst>
        <pc:spChg chg="mod">
          <ac:chgData name="van Leeuwen  Sara (VPPL)" userId="7a5f1df4-0dd0-4c9e-a72f-a035cf318af6" providerId="ADAL" clId="{8DFD1520-366F-44F1-AB6E-0C9E9C3950EA}" dt="2023-11-22T13:24:51.827" v="27" actId="948"/>
          <ac:spMkLst>
            <pc:docMk/>
            <pc:sldMk cId="1257036896" sldId="2421"/>
            <ac:spMk id="8" creationId="{7615A340-A42F-4355-AF9F-1FA9C8C871B5}"/>
          </ac:spMkLst>
        </pc:spChg>
        <pc:graphicFrameChg chg="mod">
          <ac:chgData name="van Leeuwen  Sara (VPPL)" userId="7a5f1df4-0dd0-4c9e-a72f-a035cf318af6" providerId="ADAL" clId="{8DFD1520-366F-44F1-AB6E-0C9E9C3950EA}" dt="2023-11-22T13:24:51.827" v="31"/>
          <ac:graphicFrameMkLst>
            <pc:docMk/>
            <pc:sldMk cId="1257036896" sldId="2421"/>
            <ac:graphicFrameMk id="3" creationId="{5755A7B0-3099-8ED9-DD67-7FDA65BEA332}"/>
          </ac:graphicFrameMkLst>
        </pc:graphicFrameChg>
      </pc:sldChg>
      <pc:sldChg chg="modSp mod">
        <pc:chgData name="van Leeuwen  Sara (VPPL)" userId="7a5f1df4-0dd0-4c9e-a72f-a035cf318af6" providerId="ADAL" clId="{8DFD1520-366F-44F1-AB6E-0C9E9C3950EA}" dt="2023-11-17T13:37:32.905" v="7" actId="732"/>
        <pc:sldMkLst>
          <pc:docMk/>
          <pc:sldMk cId="2330390072" sldId="2422"/>
        </pc:sldMkLst>
        <pc:picChg chg="mod modCrop">
          <ac:chgData name="van Leeuwen  Sara (VPPL)" userId="7a5f1df4-0dd0-4c9e-a72f-a035cf318af6" providerId="ADAL" clId="{8DFD1520-366F-44F1-AB6E-0C9E9C3950EA}" dt="2023-11-17T13:37:32.905" v="7" actId="732"/>
          <ac:picMkLst>
            <pc:docMk/>
            <pc:sldMk cId="2330390072" sldId="2422"/>
            <ac:picMk id="8" creationId="{37EC6C76-028C-49DD-AE90-D9B65D73DBF5}"/>
          </ac:picMkLst>
        </pc:picChg>
      </pc:sldChg>
      <pc:sldChg chg="modSp mod">
        <pc:chgData name="van Leeuwen  Sara (VPPL)" userId="7a5f1df4-0dd0-4c9e-a72f-a035cf318af6" providerId="ADAL" clId="{8DFD1520-366F-44F1-AB6E-0C9E9C3950EA}" dt="2023-11-22T13:25:03.806" v="32" actId="20577"/>
        <pc:sldMkLst>
          <pc:docMk/>
          <pc:sldMk cId="3512549865" sldId="2427"/>
        </pc:sldMkLst>
        <pc:graphicFrameChg chg="modGraphic">
          <ac:chgData name="van Leeuwen  Sara (VPPL)" userId="7a5f1df4-0dd0-4c9e-a72f-a035cf318af6" providerId="ADAL" clId="{8DFD1520-366F-44F1-AB6E-0C9E9C3950EA}" dt="2023-11-22T13:25:03.806" v="32" actId="20577"/>
          <ac:graphicFrameMkLst>
            <pc:docMk/>
            <pc:sldMk cId="3512549865" sldId="2427"/>
            <ac:graphicFrameMk id="10" creationId="{9B7E8B9D-5F9A-4F11-B14F-FECAB6CF2579}"/>
          </ac:graphicFrameMkLst>
        </pc:graphicFrameChg>
      </pc:sldChg>
      <pc:sldChg chg="addSp modSp">
        <pc:chgData name="van Leeuwen  Sara (VPPL)" userId="7a5f1df4-0dd0-4c9e-a72f-a035cf318af6" providerId="ADAL" clId="{8DFD1520-366F-44F1-AB6E-0C9E9C3950EA}" dt="2023-11-17T13:36:58.288" v="3"/>
        <pc:sldMkLst>
          <pc:docMk/>
          <pc:sldMk cId="3191170877" sldId="2443"/>
        </pc:sldMkLst>
        <pc:spChg chg="add mod">
          <ac:chgData name="van Leeuwen  Sara (VPPL)" userId="7a5f1df4-0dd0-4c9e-a72f-a035cf318af6" providerId="ADAL" clId="{8DFD1520-366F-44F1-AB6E-0C9E9C3950EA}" dt="2023-11-17T13:36:58.288" v="3"/>
          <ac:spMkLst>
            <pc:docMk/>
            <pc:sldMk cId="3191170877" sldId="2443"/>
            <ac:spMk id="7" creationId="{2CD7C58E-ED9B-E260-3050-EA669E9DB147}"/>
          </ac:spMkLst>
        </pc:spChg>
      </pc:sldChg>
      <pc:sldChg chg="addSp modSp">
        <pc:chgData name="van Leeuwen  Sara (VPPL)" userId="7a5f1df4-0dd0-4c9e-a72f-a035cf318af6" providerId="ADAL" clId="{8DFD1520-366F-44F1-AB6E-0C9E9C3950EA}" dt="2023-11-17T13:37:00.508" v="4"/>
        <pc:sldMkLst>
          <pc:docMk/>
          <pc:sldMk cId="645604469" sldId="2446"/>
        </pc:sldMkLst>
        <pc:spChg chg="add mod">
          <ac:chgData name="van Leeuwen  Sara (VPPL)" userId="7a5f1df4-0dd0-4c9e-a72f-a035cf318af6" providerId="ADAL" clId="{8DFD1520-366F-44F1-AB6E-0C9E9C3950EA}" dt="2023-11-17T13:37:00.508" v="4"/>
          <ac:spMkLst>
            <pc:docMk/>
            <pc:sldMk cId="645604469" sldId="2446"/>
            <ac:spMk id="2" creationId="{E2099240-0FD3-72C3-C0A8-4DB11739173D}"/>
          </ac:spMkLst>
        </pc:spChg>
      </pc:sldChg>
      <pc:sldChg chg="modSp mod">
        <pc:chgData name="van Leeuwen  Sara (VPPL)" userId="7a5f1df4-0dd0-4c9e-a72f-a035cf318af6" providerId="ADAL" clId="{8DFD1520-366F-44F1-AB6E-0C9E9C3950EA}" dt="2023-11-22T13:12:22.845" v="9" actId="20577"/>
        <pc:sldMkLst>
          <pc:docMk/>
          <pc:sldMk cId="1765676676" sldId="2448"/>
        </pc:sldMkLst>
        <pc:spChg chg="mod">
          <ac:chgData name="van Leeuwen  Sara (VPPL)" userId="7a5f1df4-0dd0-4c9e-a72f-a035cf318af6" providerId="ADAL" clId="{8DFD1520-366F-44F1-AB6E-0C9E9C3950EA}" dt="2023-11-22T13:12:22.845" v="9" actId="20577"/>
          <ac:spMkLst>
            <pc:docMk/>
            <pc:sldMk cId="1765676676" sldId="2448"/>
            <ac:spMk id="3" creationId="{E9BBD3EE-C606-408E-8853-A8E4F45E02CE}"/>
          </ac:spMkLst>
        </pc:spChg>
      </pc:sldChg>
    </pc:docChg>
  </pc:docChgLst>
  <pc:docChgLst>
    <pc:chgData name="Hildbrand Studer  Ernestine (VPPL)" userId="S::ehildbra@ethz.ch::e77c119a-1ea3-4930-842d-0e2d2b9dbcf1" providerId="AD" clId="Web-{A73EA9BE-48C2-116B-D01A-478DD8E84773}"/>
    <pc:docChg chg="modSld">
      <pc:chgData name="Hildbrand Studer  Ernestine (VPPL)" userId="S::ehildbra@ethz.ch::e77c119a-1ea3-4930-842d-0e2d2b9dbcf1" providerId="AD" clId="Web-{A73EA9BE-48C2-116B-D01A-478DD8E84773}" dt="2023-09-15T05:33:18.130" v="26" actId="20577"/>
      <pc:docMkLst>
        <pc:docMk/>
      </pc:docMkLst>
      <pc:sldChg chg="modSp">
        <pc:chgData name="Hildbrand Studer  Ernestine (VPPL)" userId="S::ehildbra@ethz.ch::e77c119a-1ea3-4930-842d-0e2d2b9dbcf1" providerId="AD" clId="Web-{A73EA9BE-48C2-116B-D01A-478DD8E84773}" dt="2023-09-15T05:33:18.130" v="26" actId="20577"/>
        <pc:sldMkLst>
          <pc:docMk/>
          <pc:sldMk cId="3233872304" sldId="2379"/>
        </pc:sldMkLst>
        <pc:spChg chg="mod">
          <ac:chgData name="Hildbrand Studer  Ernestine (VPPL)" userId="S::ehildbra@ethz.ch::e77c119a-1ea3-4930-842d-0e2d2b9dbcf1" providerId="AD" clId="Web-{A73EA9BE-48C2-116B-D01A-478DD8E84773}" dt="2023-09-15T05:33:18.130" v="26" actId="20577"/>
          <ac:spMkLst>
            <pc:docMk/>
            <pc:sldMk cId="3233872304" sldId="2379"/>
            <ac:spMk id="8" creationId="{AC1FB292-90C1-439C-8480-EB4116CF2374}"/>
          </ac:spMkLst>
        </pc:spChg>
      </pc:sldChg>
    </pc:docChg>
  </pc:docChgLst>
  <pc:docChgLst>
    <pc:chgData name="van Leeuwen  Sara (VPPL)" userId="7a5f1df4-0dd0-4c9e-a72f-a035cf318af6" providerId="ADAL" clId="{3305C26B-DAEC-4E75-A798-968AFBE840BD}"/>
    <pc:docChg chg="undo custSel modSld">
      <pc:chgData name="van Leeuwen  Sara (VPPL)" userId="7a5f1df4-0dd0-4c9e-a72f-a035cf318af6" providerId="ADAL" clId="{3305C26B-DAEC-4E75-A798-968AFBE840BD}" dt="2023-10-18T14:33:41.339" v="663" actId="1035"/>
      <pc:docMkLst>
        <pc:docMk/>
      </pc:docMkLst>
      <pc:sldChg chg="modSp mod">
        <pc:chgData name="van Leeuwen  Sara (VPPL)" userId="7a5f1df4-0dd0-4c9e-a72f-a035cf318af6" providerId="ADAL" clId="{3305C26B-DAEC-4E75-A798-968AFBE840BD}" dt="2023-10-18T14:01:46.156" v="443" actId="21"/>
        <pc:sldMkLst>
          <pc:docMk/>
          <pc:sldMk cId="3227777584" sldId="422"/>
        </pc:sldMkLst>
        <pc:spChg chg="mod">
          <ac:chgData name="van Leeuwen  Sara (VPPL)" userId="7a5f1df4-0dd0-4c9e-a72f-a035cf318af6" providerId="ADAL" clId="{3305C26B-DAEC-4E75-A798-968AFBE840BD}" dt="2023-10-18T14:01:46.156" v="443" actId="21"/>
          <ac:spMkLst>
            <pc:docMk/>
            <pc:sldMk cId="3227777584" sldId="422"/>
            <ac:spMk id="3" creationId="{D248A836-D270-48AC-93BC-E789F2E8E734}"/>
          </ac:spMkLst>
        </pc:spChg>
      </pc:sldChg>
      <pc:sldChg chg="mod modTransition modShow">
        <pc:chgData name="van Leeuwen  Sara (VPPL)" userId="7a5f1df4-0dd0-4c9e-a72f-a035cf318af6" providerId="ADAL" clId="{3305C26B-DAEC-4E75-A798-968AFBE840BD}" dt="2023-10-18T13:51:21.988" v="383"/>
        <pc:sldMkLst>
          <pc:docMk/>
          <pc:sldMk cId="210407677" sldId="2350"/>
        </pc:sldMkLst>
      </pc:sldChg>
      <pc:sldChg chg="modSp mod modTransition modShow">
        <pc:chgData name="van Leeuwen  Sara (VPPL)" userId="7a5f1df4-0dd0-4c9e-a72f-a035cf318af6" providerId="ADAL" clId="{3305C26B-DAEC-4E75-A798-968AFBE840BD}" dt="2023-10-18T13:51:37.585" v="385"/>
        <pc:sldMkLst>
          <pc:docMk/>
          <pc:sldMk cId="2700500582" sldId="2374"/>
        </pc:sldMkLst>
        <pc:graphicFrameChg chg="modGraphic">
          <ac:chgData name="van Leeuwen  Sara (VPPL)" userId="7a5f1df4-0dd0-4c9e-a72f-a035cf318af6" providerId="ADAL" clId="{3305C26B-DAEC-4E75-A798-968AFBE840BD}" dt="2023-10-18T13:40:39.941" v="332" actId="20577"/>
          <ac:graphicFrameMkLst>
            <pc:docMk/>
            <pc:sldMk cId="2700500582" sldId="2374"/>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1769867695" sldId="2392"/>
        </pc:sldMkLst>
        <pc:graphicFrameChg chg="mod modGraphic">
          <ac:chgData name="van Leeuwen  Sara (VPPL)" userId="7a5f1df4-0dd0-4c9e-a72f-a035cf318af6" providerId="ADAL" clId="{3305C26B-DAEC-4E75-A798-968AFBE840BD}" dt="2023-10-18T13:49:03.507" v="375" actId="6549"/>
          <ac:graphicFrameMkLst>
            <pc:docMk/>
            <pc:sldMk cId="1769867695" sldId="2392"/>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2631741042" sldId="2394"/>
        </pc:sldMkLst>
        <pc:spChg chg="mod">
          <ac:chgData name="van Leeuwen  Sara (VPPL)" userId="7a5f1df4-0dd0-4c9e-a72f-a035cf318af6" providerId="ADAL" clId="{3305C26B-DAEC-4E75-A798-968AFBE840BD}" dt="2023-10-18T13:27:15.235" v="39" actId="20577"/>
          <ac:spMkLst>
            <pc:docMk/>
            <pc:sldMk cId="2631741042" sldId="2394"/>
            <ac:spMk id="3" creationId="{E9BBD3EE-C606-408E-8853-A8E4F45E02CE}"/>
          </ac:spMkLst>
        </pc:spChg>
      </pc:sldChg>
      <pc:sldChg chg="modSp mod">
        <pc:chgData name="van Leeuwen  Sara (VPPL)" userId="7a5f1df4-0dd0-4c9e-a72f-a035cf318af6" providerId="ADAL" clId="{3305C26B-DAEC-4E75-A798-968AFBE840BD}" dt="2023-10-18T13:56:18.410" v="436" actId="33524"/>
        <pc:sldMkLst>
          <pc:docMk/>
          <pc:sldMk cId="282434247" sldId="2395"/>
        </pc:sldMkLst>
        <pc:spChg chg="mod">
          <ac:chgData name="van Leeuwen  Sara (VPPL)" userId="7a5f1df4-0dd0-4c9e-a72f-a035cf318af6" providerId="ADAL" clId="{3305C26B-DAEC-4E75-A798-968AFBE840BD}" dt="2023-10-18T13:56:18.410" v="436" actId="33524"/>
          <ac:spMkLst>
            <pc:docMk/>
            <pc:sldMk cId="282434247" sldId="2395"/>
            <ac:spMk id="3" creationId="{E9BBD3EE-C606-408E-8853-A8E4F45E02CE}"/>
          </ac:spMkLst>
        </pc:spChg>
      </pc:sldChg>
      <pc:sldChg chg="modSp mod">
        <pc:chgData name="van Leeuwen  Sara (VPPL)" userId="7a5f1df4-0dd0-4c9e-a72f-a035cf318af6" providerId="ADAL" clId="{3305C26B-DAEC-4E75-A798-968AFBE840BD}" dt="2023-10-18T13:56:17.874" v="435" actId="20577"/>
        <pc:sldMkLst>
          <pc:docMk/>
          <pc:sldMk cId="54911923" sldId="2398"/>
        </pc:sldMkLst>
        <pc:spChg chg="mod">
          <ac:chgData name="van Leeuwen  Sara (VPPL)" userId="7a5f1df4-0dd0-4c9e-a72f-a035cf318af6" providerId="ADAL" clId="{3305C26B-DAEC-4E75-A798-968AFBE840BD}" dt="2023-10-18T13:56:17.874" v="435" actId="20577"/>
          <ac:spMkLst>
            <pc:docMk/>
            <pc:sldMk cId="54911923" sldId="2398"/>
            <ac:spMk id="37" creationId="{166FA689-72C3-40C8-B811-164178E71FB6}"/>
          </ac:spMkLst>
        </pc:spChg>
      </pc:sldChg>
      <pc:sldChg chg="modSp mod modTransition modShow">
        <pc:chgData name="van Leeuwen  Sara (VPPL)" userId="7a5f1df4-0dd0-4c9e-a72f-a035cf318af6" providerId="ADAL" clId="{3305C26B-DAEC-4E75-A798-968AFBE840BD}" dt="2023-10-18T13:51:37.585" v="385"/>
        <pc:sldMkLst>
          <pc:docMk/>
          <pc:sldMk cId="1578806444" sldId="2407"/>
        </pc:sldMkLst>
        <pc:spChg chg="mod">
          <ac:chgData name="van Leeuwen  Sara (VPPL)" userId="7a5f1df4-0dd0-4c9e-a72f-a035cf318af6" providerId="ADAL" clId="{3305C26B-DAEC-4E75-A798-968AFBE840BD}" dt="2023-10-18T13:29:48.909" v="82" actId="20577"/>
          <ac:spMkLst>
            <pc:docMk/>
            <pc:sldMk cId="1578806444" sldId="2407"/>
            <ac:spMk id="3" creationId="{0388AFFD-3076-49B5-B0DE-559A52DA68A3}"/>
          </ac:spMkLst>
        </pc:spChg>
      </pc:sldChg>
      <pc:sldChg chg="modSp mod">
        <pc:chgData name="van Leeuwen  Sara (VPPL)" userId="7a5f1df4-0dd0-4c9e-a72f-a035cf318af6" providerId="ADAL" clId="{3305C26B-DAEC-4E75-A798-968AFBE840BD}" dt="2023-10-18T14:02:47.866" v="492" actId="207"/>
        <pc:sldMkLst>
          <pc:docMk/>
          <pc:sldMk cId="1776128425" sldId="2412"/>
        </pc:sldMkLst>
        <pc:spChg chg="mod">
          <ac:chgData name="van Leeuwen  Sara (VPPL)" userId="7a5f1df4-0dd0-4c9e-a72f-a035cf318af6" providerId="ADAL" clId="{3305C26B-DAEC-4E75-A798-968AFBE840BD}" dt="2023-10-18T14:02:47.866" v="492" actId="207"/>
          <ac:spMkLst>
            <pc:docMk/>
            <pc:sldMk cId="1776128425" sldId="2412"/>
            <ac:spMk id="9" creationId="{0E2807F2-D9BD-433B-B6EF-CF115AF7F215}"/>
          </ac:spMkLst>
        </pc:spChg>
      </pc:sldChg>
      <pc:sldChg chg="modSp mod modTransition modShow">
        <pc:chgData name="van Leeuwen  Sara (VPPL)" userId="7a5f1df4-0dd0-4c9e-a72f-a035cf318af6" providerId="ADAL" clId="{3305C26B-DAEC-4E75-A798-968AFBE840BD}" dt="2023-10-18T13:51:37.585" v="385"/>
        <pc:sldMkLst>
          <pc:docMk/>
          <pc:sldMk cId="3512549865" sldId="2427"/>
        </pc:sldMkLst>
        <pc:graphicFrameChg chg="modGraphic">
          <ac:chgData name="van Leeuwen  Sara (VPPL)" userId="7a5f1df4-0dd0-4c9e-a72f-a035cf318af6" providerId="ADAL" clId="{3305C26B-DAEC-4E75-A798-968AFBE840BD}" dt="2023-10-18T13:46:01.452" v="347" actId="20577"/>
          <ac:graphicFrameMkLst>
            <pc:docMk/>
            <pc:sldMk cId="3512549865" sldId="2427"/>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1289117044" sldId="2431"/>
        </pc:sldMkLst>
        <pc:spChg chg="mod">
          <ac:chgData name="van Leeuwen  Sara (VPPL)" userId="7a5f1df4-0dd0-4c9e-a72f-a035cf318af6" providerId="ADAL" clId="{3305C26B-DAEC-4E75-A798-968AFBE840BD}" dt="2023-10-18T13:35:55.401" v="234" actId="948"/>
          <ac:spMkLst>
            <pc:docMk/>
            <pc:sldMk cId="1289117044" sldId="2431"/>
            <ac:spMk id="16" creationId="{610C0BC9-B539-4F72-A018-A02A8E404895}"/>
          </ac:spMkLst>
        </pc:spChg>
        <pc:picChg chg="mod">
          <ac:chgData name="van Leeuwen  Sara (VPPL)" userId="7a5f1df4-0dd0-4c9e-a72f-a035cf318af6" providerId="ADAL" clId="{3305C26B-DAEC-4E75-A798-968AFBE840BD}" dt="2023-10-18T13:36:02.338" v="242" actId="1036"/>
          <ac:picMkLst>
            <pc:docMk/>
            <pc:sldMk cId="1289117044" sldId="2431"/>
            <ac:picMk id="24" creationId="{7BCC7FA2-C324-C217-569B-CB43F3B8989C}"/>
          </ac:picMkLst>
        </pc:picChg>
      </pc:sldChg>
      <pc:sldChg chg="modSp mod modTransition modShow">
        <pc:chgData name="van Leeuwen  Sara (VPPL)" userId="7a5f1df4-0dd0-4c9e-a72f-a035cf318af6" providerId="ADAL" clId="{3305C26B-DAEC-4E75-A798-968AFBE840BD}" dt="2023-10-18T13:51:37.585" v="385"/>
        <pc:sldMkLst>
          <pc:docMk/>
          <pc:sldMk cId="4240256703" sldId="2434"/>
        </pc:sldMkLst>
        <pc:graphicFrameChg chg="modGraphic">
          <ac:chgData name="van Leeuwen  Sara (VPPL)" userId="7a5f1df4-0dd0-4c9e-a72f-a035cf318af6" providerId="ADAL" clId="{3305C26B-DAEC-4E75-A798-968AFBE840BD}" dt="2023-10-18T13:38:20.729" v="326" actId="5793"/>
          <ac:graphicFrameMkLst>
            <pc:docMk/>
            <pc:sldMk cId="4240256703" sldId="2434"/>
            <ac:graphicFrameMk id="10" creationId="{0EF152D8-7E22-405A-9145-E64DA0C4FFB0}"/>
          </ac:graphicFrameMkLst>
        </pc:graphicFrameChg>
      </pc:sldChg>
      <pc:sldChg chg="modSp mod">
        <pc:chgData name="van Leeuwen  Sara (VPPL)" userId="7a5f1df4-0dd0-4c9e-a72f-a035cf318af6" providerId="ADAL" clId="{3305C26B-DAEC-4E75-A798-968AFBE840BD}" dt="2023-10-18T14:33:41.339" v="663" actId="1035"/>
        <pc:sldMkLst>
          <pc:docMk/>
          <pc:sldMk cId="115161503" sldId="2437"/>
        </pc:sldMkLst>
        <pc:spChg chg="mod">
          <ac:chgData name="van Leeuwen  Sara (VPPL)" userId="7a5f1df4-0dd0-4c9e-a72f-a035cf318af6" providerId="ADAL" clId="{3305C26B-DAEC-4E75-A798-968AFBE840BD}" dt="2023-10-18T14:33:17.887" v="625" actId="14100"/>
          <ac:spMkLst>
            <pc:docMk/>
            <pc:sldMk cId="115161503" sldId="2437"/>
            <ac:spMk id="10" creationId="{00000000-0000-0000-0000-000000000000}"/>
          </ac:spMkLst>
        </pc:spChg>
        <pc:spChg chg="mod">
          <ac:chgData name="van Leeuwen  Sara (VPPL)" userId="7a5f1df4-0dd0-4c9e-a72f-a035cf318af6" providerId="ADAL" clId="{3305C26B-DAEC-4E75-A798-968AFBE840BD}" dt="2023-10-18T14:33:34.748" v="646" actId="14100"/>
          <ac:spMkLst>
            <pc:docMk/>
            <pc:sldMk cId="115161503" sldId="2437"/>
            <ac:spMk id="13" creationId="{395FE564-E77A-A062-6DE1-DDA7459467A2}"/>
          </ac:spMkLst>
        </pc:spChg>
        <pc:spChg chg="mod">
          <ac:chgData name="van Leeuwen  Sara (VPPL)" userId="7a5f1df4-0dd0-4c9e-a72f-a035cf318af6" providerId="ADAL" clId="{3305C26B-DAEC-4E75-A798-968AFBE840BD}" dt="2023-10-18T14:33:41.339" v="663" actId="1035"/>
          <ac:spMkLst>
            <pc:docMk/>
            <pc:sldMk cId="115161503" sldId="2437"/>
            <ac:spMk id="14" creationId="{7528A58F-D640-34E7-6DA4-5A6CA1D82E0E}"/>
          </ac:spMkLst>
        </pc:spChg>
      </pc:sldChg>
      <pc:sldChg chg="modSp mod modTransition modShow">
        <pc:chgData name="van Leeuwen  Sara (VPPL)" userId="7a5f1df4-0dd0-4c9e-a72f-a035cf318af6" providerId="ADAL" clId="{3305C26B-DAEC-4E75-A798-968AFBE840BD}" dt="2023-10-18T13:51:06.101" v="379"/>
        <pc:sldMkLst>
          <pc:docMk/>
          <pc:sldMk cId="3213314599" sldId="2444"/>
        </pc:sldMkLst>
        <pc:spChg chg="mod">
          <ac:chgData name="van Leeuwen  Sara (VPPL)" userId="7a5f1df4-0dd0-4c9e-a72f-a035cf318af6" providerId="ADAL" clId="{3305C26B-DAEC-4E75-A798-968AFBE840BD}" dt="2023-10-18T13:23:14.861" v="0" actId="33524"/>
          <ac:spMkLst>
            <pc:docMk/>
            <pc:sldMk cId="3213314599" sldId="2444"/>
            <ac:spMk id="3" creationId="{00000000-0000-0000-0000-000000000000}"/>
          </ac:spMkLst>
        </pc:spChg>
      </pc:sldChg>
      <pc:sldChg chg="mod modTransition modShow">
        <pc:chgData name="van Leeuwen  Sara (VPPL)" userId="7a5f1df4-0dd0-4c9e-a72f-a035cf318af6" providerId="ADAL" clId="{3305C26B-DAEC-4E75-A798-968AFBE840BD}" dt="2023-10-18T13:51:08.004" v="381"/>
        <pc:sldMkLst>
          <pc:docMk/>
          <pc:sldMk cId="687061124" sldId="2445"/>
        </pc:sldMkLst>
      </pc:sldChg>
      <pc:sldChg chg="mod modTransition modShow">
        <pc:chgData name="van Leeuwen  Sara (VPPL)" userId="7a5f1df4-0dd0-4c9e-a72f-a035cf318af6" providerId="ADAL" clId="{3305C26B-DAEC-4E75-A798-968AFBE840BD}" dt="2023-10-18T13:51:01.928" v="377"/>
        <pc:sldMkLst>
          <pc:docMk/>
          <pc:sldMk cId="217941384" sldId="2447"/>
        </pc:sldMkLst>
      </pc:sldChg>
      <pc:sldChg chg="modSp mod modTransition modShow">
        <pc:chgData name="van Leeuwen  Sara (VPPL)" userId="7a5f1df4-0dd0-4c9e-a72f-a035cf318af6" providerId="ADAL" clId="{3305C26B-DAEC-4E75-A798-968AFBE840BD}" dt="2023-10-18T13:51:37.585" v="385"/>
        <pc:sldMkLst>
          <pc:docMk/>
          <pc:sldMk cId="1765676676" sldId="2448"/>
        </pc:sldMkLst>
        <pc:spChg chg="mod">
          <ac:chgData name="van Leeuwen  Sara (VPPL)" userId="7a5f1df4-0dd0-4c9e-a72f-a035cf318af6" providerId="ADAL" clId="{3305C26B-DAEC-4E75-A798-968AFBE840BD}" dt="2023-10-18T13:33:57.660" v="193" actId="20577"/>
          <ac:spMkLst>
            <pc:docMk/>
            <pc:sldMk cId="1765676676" sldId="2448"/>
            <ac:spMk id="3" creationId="{E9BBD3EE-C606-408E-8853-A8E4F45E02CE}"/>
          </ac:spMkLst>
        </pc:spChg>
      </pc:sldChg>
    </pc:docChg>
  </pc:docChgLst>
  <pc:docChgLst>
    <pc:chgData name="van Leeuwen  Sara (VPPL)" userId="7a5f1df4-0dd0-4c9e-a72f-a035cf318af6" providerId="ADAL" clId="{99EEBBF4-E92D-465B-9BB3-FA9893C193B5}"/>
    <pc:docChg chg="custSel delSld modSld modSection">
      <pc:chgData name="van Leeuwen  Sara (VPPL)" userId="7a5f1df4-0dd0-4c9e-a72f-a035cf318af6" providerId="ADAL" clId="{99EEBBF4-E92D-465B-9BB3-FA9893C193B5}" dt="2024-02-29T09:46:15.036" v="28" actId="13926"/>
      <pc:docMkLst>
        <pc:docMk/>
      </pc:docMkLst>
      <pc:sldChg chg="modSp mod">
        <pc:chgData name="van Leeuwen  Sara (VPPL)" userId="7a5f1df4-0dd0-4c9e-a72f-a035cf318af6" providerId="ADAL" clId="{99EEBBF4-E92D-465B-9BB3-FA9893C193B5}" dt="2024-02-29T09:45:59.139" v="26" actId="5793"/>
        <pc:sldMkLst>
          <pc:docMk/>
          <pc:sldMk cId="3233872304" sldId="2379"/>
        </pc:sldMkLst>
        <pc:spChg chg="mod">
          <ac:chgData name="van Leeuwen  Sara (VPPL)" userId="7a5f1df4-0dd0-4c9e-a72f-a035cf318af6" providerId="ADAL" clId="{99EEBBF4-E92D-465B-9BB3-FA9893C193B5}" dt="2024-02-29T09:45:59.139" v="26" actId="5793"/>
          <ac:spMkLst>
            <pc:docMk/>
            <pc:sldMk cId="3233872304" sldId="2379"/>
            <ac:spMk id="8" creationId="{AC1FB292-90C1-439C-8480-EB4116CF2374}"/>
          </ac:spMkLst>
        </pc:spChg>
      </pc:sldChg>
      <pc:sldChg chg="modSp mod">
        <pc:chgData name="van Leeuwen  Sara (VPPL)" userId="7a5f1df4-0dd0-4c9e-a72f-a035cf318af6" providerId="ADAL" clId="{99EEBBF4-E92D-465B-9BB3-FA9893C193B5}" dt="2024-02-29T09:46:15.036" v="28" actId="13926"/>
        <pc:sldMkLst>
          <pc:docMk/>
          <pc:sldMk cId="282434247" sldId="2395"/>
        </pc:sldMkLst>
        <pc:spChg chg="mod">
          <ac:chgData name="van Leeuwen  Sara (VPPL)" userId="7a5f1df4-0dd0-4c9e-a72f-a035cf318af6" providerId="ADAL" clId="{99EEBBF4-E92D-465B-9BB3-FA9893C193B5}" dt="2024-02-29T09:46:15.036" v="28" actId="13926"/>
          <ac:spMkLst>
            <pc:docMk/>
            <pc:sldMk cId="282434247" sldId="2395"/>
            <ac:spMk id="3" creationId="{E9BBD3EE-C606-408E-8853-A8E4F45E02CE}"/>
          </ac:spMkLst>
        </pc:spChg>
      </pc:sldChg>
      <pc:sldChg chg="del">
        <pc:chgData name="van Leeuwen  Sara (VPPL)" userId="7a5f1df4-0dd0-4c9e-a72f-a035cf318af6" providerId="ADAL" clId="{99EEBBF4-E92D-465B-9BB3-FA9893C193B5}" dt="2024-02-29T09:46:06.182" v="27" actId="47"/>
        <pc:sldMkLst>
          <pc:docMk/>
          <pc:sldMk cId="1578806444" sldId="2407"/>
        </pc:sldMkLst>
      </pc:sldChg>
    </pc:docChg>
  </pc:docChgLst>
  <pc:docChgLst>
    <pc:chgData name="van Leeuwen  Sara (VPPL)" userId="7a5f1df4-0dd0-4c9e-a72f-a035cf318af6" providerId="ADAL" clId="{7F83441C-FBEE-4352-925F-0745A21765C9}"/>
    <pc:docChg chg="undo redo custSel addSld delSld modSld sldOrd modMainMaster modSection replTag">
      <pc:chgData name="van Leeuwen  Sara (VPPL)" userId="7a5f1df4-0dd0-4c9e-a72f-a035cf318af6" providerId="ADAL" clId="{7F83441C-FBEE-4352-925F-0745A21765C9}" dt="2023-09-14T18:27:35.981" v="6990" actId="478"/>
      <pc:docMkLst>
        <pc:docMk/>
      </pc:docMkLst>
      <pc:sldChg chg="addSp modSp mod">
        <pc:chgData name="van Leeuwen  Sara (VPPL)" userId="7a5f1df4-0dd0-4c9e-a72f-a035cf318af6" providerId="ADAL" clId="{7F83441C-FBEE-4352-925F-0745A21765C9}" dt="2023-09-14T18:21:16.280" v="6987" actId="1076"/>
        <pc:sldMkLst>
          <pc:docMk/>
          <pc:sldMk cId="3227777584" sldId="422"/>
        </pc:sldMkLst>
        <pc:spChg chg="mod">
          <ac:chgData name="van Leeuwen  Sara (VPPL)" userId="7a5f1df4-0dd0-4c9e-a72f-a035cf318af6" providerId="ADAL" clId="{7F83441C-FBEE-4352-925F-0745A21765C9}" dt="2023-09-14T16:50:21.120" v="2872"/>
          <ac:spMkLst>
            <pc:docMk/>
            <pc:sldMk cId="3227777584" sldId="422"/>
            <ac:spMk id="5" creationId="{B057CD9C-7E82-4EE5-8D4A-CF1F831FF9E4}"/>
          </ac:spMkLst>
        </pc:spChg>
        <pc:spChg chg="add mod">
          <ac:chgData name="van Leeuwen  Sara (VPPL)" userId="7a5f1df4-0dd0-4c9e-a72f-a035cf318af6" providerId="ADAL" clId="{7F83441C-FBEE-4352-925F-0745A21765C9}" dt="2023-09-14T18:21:16.280" v="6987" actId="1076"/>
          <ac:spMkLst>
            <pc:docMk/>
            <pc:sldMk cId="3227777584" sldId="422"/>
            <ac:spMk id="11" creationId="{58F97EF9-9E65-0FDA-4456-034FB4F9E756}"/>
          </ac:spMkLst>
        </pc:spChg>
      </pc:sldChg>
      <pc:sldChg chg="del">
        <pc:chgData name="van Leeuwen  Sara (VPPL)" userId="7a5f1df4-0dd0-4c9e-a72f-a035cf318af6" providerId="ADAL" clId="{7F83441C-FBEE-4352-925F-0745A21765C9}" dt="2023-09-14T13:49:08.207" v="2824" actId="47"/>
        <pc:sldMkLst>
          <pc:docMk/>
          <pc:sldMk cId="462350290" sldId="441"/>
        </pc:sldMkLst>
      </pc:sldChg>
      <pc:sldChg chg="addSp delSp modSp mod">
        <pc:chgData name="van Leeuwen  Sara (VPPL)" userId="7a5f1df4-0dd0-4c9e-a72f-a035cf318af6" providerId="ADAL" clId="{7F83441C-FBEE-4352-925F-0745A21765C9}" dt="2023-09-14T16:50:09.484" v="2869"/>
        <pc:sldMkLst>
          <pc:docMk/>
          <pc:sldMk cId="286829603" sldId="2339"/>
        </pc:sldMkLst>
        <pc:spChg chg="mod">
          <ac:chgData name="van Leeuwen  Sara (VPPL)" userId="7a5f1df4-0dd0-4c9e-a72f-a035cf318af6" providerId="ADAL" clId="{7F83441C-FBEE-4352-925F-0745A21765C9}" dt="2023-09-14T12:08:54.313" v="367" actId="1038"/>
          <ac:spMkLst>
            <pc:docMk/>
            <pc:sldMk cId="286829603" sldId="2339"/>
            <ac:spMk id="8" creationId="{00000000-0000-0000-0000-000000000000}"/>
          </ac:spMkLst>
        </pc:spChg>
        <pc:spChg chg="mod">
          <ac:chgData name="van Leeuwen  Sara (VPPL)" userId="7a5f1df4-0dd0-4c9e-a72f-a035cf318af6" providerId="ADAL" clId="{7F83441C-FBEE-4352-925F-0745A21765C9}" dt="2023-09-14T12:06:50.796" v="346" actId="20577"/>
          <ac:spMkLst>
            <pc:docMk/>
            <pc:sldMk cId="286829603" sldId="2339"/>
            <ac:spMk id="9" creationId="{00000000-0000-0000-0000-000000000000}"/>
          </ac:spMkLst>
        </pc:spChg>
        <pc:spChg chg="add mod">
          <ac:chgData name="van Leeuwen  Sara (VPPL)" userId="7a5f1df4-0dd0-4c9e-a72f-a035cf318af6" providerId="ADAL" clId="{7F83441C-FBEE-4352-925F-0745A21765C9}" dt="2023-09-14T11:59:40.300" v="184" actId="1076"/>
          <ac:spMkLst>
            <pc:docMk/>
            <pc:sldMk cId="286829603" sldId="2339"/>
            <ac:spMk id="10" creationId="{6F41AF3B-302E-E75F-BA20-A8FFB5A1C173}"/>
          </ac:spMkLst>
        </pc:spChg>
        <pc:spChg chg="mod">
          <ac:chgData name="van Leeuwen  Sara (VPPL)" userId="7a5f1df4-0dd0-4c9e-a72f-a035cf318af6" providerId="ADAL" clId="{7F83441C-FBEE-4352-925F-0745A21765C9}" dt="2023-09-14T11:59:30.118" v="182" actId="1076"/>
          <ac:spMkLst>
            <pc:docMk/>
            <pc:sldMk cId="286829603" sldId="2339"/>
            <ac:spMk id="11" creationId="{00000000-0000-0000-0000-000000000000}"/>
          </ac:spMkLst>
        </pc:spChg>
        <pc:spChg chg="add mod">
          <ac:chgData name="van Leeuwen  Sara (VPPL)" userId="7a5f1df4-0dd0-4c9e-a72f-a035cf318af6" providerId="ADAL" clId="{7F83441C-FBEE-4352-925F-0745A21765C9}" dt="2023-09-14T11:59:40.300" v="184" actId="1076"/>
          <ac:spMkLst>
            <pc:docMk/>
            <pc:sldMk cId="286829603" sldId="2339"/>
            <ac:spMk id="13" creationId="{A2DA63D0-DB52-889F-2F2B-517DEC88A825}"/>
          </ac:spMkLst>
        </pc:spChg>
        <pc:spChg chg="add mod">
          <ac:chgData name="van Leeuwen  Sara (VPPL)" userId="7a5f1df4-0dd0-4c9e-a72f-a035cf318af6" providerId="ADAL" clId="{7F83441C-FBEE-4352-925F-0745A21765C9}" dt="2023-09-14T11:59:40.300" v="184" actId="1076"/>
          <ac:spMkLst>
            <pc:docMk/>
            <pc:sldMk cId="286829603" sldId="2339"/>
            <ac:spMk id="14" creationId="{377CF0BC-CB95-8F98-6CEB-5CFEF27F7257}"/>
          </ac:spMkLst>
        </pc:spChg>
        <pc:spChg chg="add mod">
          <ac:chgData name="van Leeuwen  Sara (VPPL)" userId="7a5f1df4-0dd0-4c9e-a72f-a035cf318af6" providerId="ADAL" clId="{7F83441C-FBEE-4352-925F-0745A21765C9}" dt="2023-09-14T12:01:48.664" v="253" actId="20577"/>
          <ac:spMkLst>
            <pc:docMk/>
            <pc:sldMk cId="286829603" sldId="2339"/>
            <ac:spMk id="15" creationId="{156683EB-D727-AEEC-79F5-8D0E4AB20A6B}"/>
          </ac:spMkLst>
        </pc:spChg>
        <pc:spChg chg="add mod">
          <ac:chgData name="van Leeuwen  Sara (VPPL)" userId="7a5f1df4-0dd0-4c9e-a72f-a035cf318af6" providerId="ADAL" clId="{7F83441C-FBEE-4352-925F-0745A21765C9}" dt="2023-09-14T12:03:52.620" v="294" actId="20577"/>
          <ac:spMkLst>
            <pc:docMk/>
            <pc:sldMk cId="286829603" sldId="2339"/>
            <ac:spMk id="16" creationId="{FBA74DE1-7D88-9CC3-2F7B-6033EA6114E0}"/>
          </ac:spMkLst>
        </pc:spChg>
        <pc:spChg chg="add mod">
          <ac:chgData name="van Leeuwen  Sara (VPPL)" userId="7a5f1df4-0dd0-4c9e-a72f-a035cf318af6" providerId="ADAL" clId="{7F83441C-FBEE-4352-925F-0745A21765C9}" dt="2023-09-14T12:06:03.420" v="338" actId="20577"/>
          <ac:spMkLst>
            <pc:docMk/>
            <pc:sldMk cId="286829603" sldId="2339"/>
            <ac:spMk id="17" creationId="{996C98F5-E864-5923-1607-1B96A5319F95}"/>
          </ac:spMkLst>
        </pc:spChg>
        <pc:spChg chg="add mod">
          <ac:chgData name="van Leeuwen  Sara (VPPL)" userId="7a5f1df4-0dd0-4c9e-a72f-a035cf318af6" providerId="ADAL" clId="{7F83441C-FBEE-4352-925F-0745A21765C9}" dt="2023-09-14T11:59:40.300" v="184" actId="1076"/>
          <ac:spMkLst>
            <pc:docMk/>
            <pc:sldMk cId="286829603" sldId="2339"/>
            <ac:spMk id="22" creationId="{69BA734D-73D9-0E42-16FF-9A16E9A0AA7F}"/>
          </ac:spMkLst>
        </pc:spChg>
        <pc:spChg chg="add mod">
          <ac:chgData name="van Leeuwen  Sara (VPPL)" userId="7a5f1df4-0dd0-4c9e-a72f-a035cf318af6" providerId="ADAL" clId="{7F83441C-FBEE-4352-925F-0745A21765C9}" dt="2023-09-14T11:59:44.628" v="190" actId="20577"/>
          <ac:spMkLst>
            <pc:docMk/>
            <pc:sldMk cId="286829603" sldId="2339"/>
            <ac:spMk id="24" creationId="{04289C6E-1199-0B99-D163-4CD3620BC9E0}"/>
          </ac:spMkLst>
        </pc:spChg>
        <pc:spChg chg="add del mod">
          <ac:chgData name="van Leeuwen  Sara (VPPL)" userId="7a5f1df4-0dd0-4c9e-a72f-a035cf318af6" providerId="ADAL" clId="{7F83441C-FBEE-4352-925F-0745A21765C9}" dt="2023-09-14T12:07:50.233" v="357" actId="478"/>
          <ac:spMkLst>
            <pc:docMk/>
            <pc:sldMk cId="286829603" sldId="2339"/>
            <ac:spMk id="25" creationId="{301DF12C-FA01-F935-CFC2-67DDD0E677C1}"/>
          </ac:spMkLst>
        </pc:spChg>
        <pc:spChg chg="add del mod">
          <ac:chgData name="van Leeuwen  Sara (VPPL)" userId="7a5f1df4-0dd0-4c9e-a72f-a035cf318af6" providerId="ADAL" clId="{7F83441C-FBEE-4352-925F-0745A21765C9}" dt="2023-09-14T12:07:50.233" v="357" actId="478"/>
          <ac:spMkLst>
            <pc:docMk/>
            <pc:sldMk cId="286829603" sldId="2339"/>
            <ac:spMk id="26" creationId="{F51A33D2-40BC-C5BE-5057-9EEC0E37AB94}"/>
          </ac:spMkLst>
        </pc:spChg>
        <pc:spChg chg="mod">
          <ac:chgData name="van Leeuwen  Sara (VPPL)" userId="7a5f1df4-0dd0-4c9e-a72f-a035cf318af6" providerId="ADAL" clId="{7F83441C-FBEE-4352-925F-0745A21765C9}" dt="2023-09-14T12:08:54.313" v="367" actId="1038"/>
          <ac:spMkLst>
            <pc:docMk/>
            <pc:sldMk cId="286829603" sldId="2339"/>
            <ac:spMk id="27" creationId="{00000000-0000-0000-0000-000000000000}"/>
          </ac:spMkLst>
        </pc:spChg>
        <pc:spChg chg="mod">
          <ac:chgData name="van Leeuwen  Sara (VPPL)" userId="7a5f1df4-0dd0-4c9e-a72f-a035cf318af6" providerId="ADAL" clId="{7F83441C-FBEE-4352-925F-0745A21765C9}" dt="2023-09-14T12:08:54.313" v="367" actId="1038"/>
          <ac:spMkLst>
            <pc:docMk/>
            <pc:sldMk cId="286829603" sldId="2339"/>
            <ac:spMk id="28" creationId="{00000000-0000-0000-0000-000000000000}"/>
          </ac:spMkLst>
        </pc:spChg>
        <pc:spChg chg="add del mod">
          <ac:chgData name="van Leeuwen  Sara (VPPL)" userId="7a5f1df4-0dd0-4c9e-a72f-a035cf318af6" providerId="ADAL" clId="{7F83441C-FBEE-4352-925F-0745A21765C9}" dt="2023-09-14T12:07:50.233" v="357" actId="478"/>
          <ac:spMkLst>
            <pc:docMk/>
            <pc:sldMk cId="286829603" sldId="2339"/>
            <ac:spMk id="29" creationId="{6AE13F44-6448-752F-CD42-43C1021EDB3D}"/>
          </ac:spMkLst>
        </pc:spChg>
        <pc:spChg chg="add del mod">
          <ac:chgData name="van Leeuwen  Sara (VPPL)" userId="7a5f1df4-0dd0-4c9e-a72f-a035cf318af6" providerId="ADAL" clId="{7F83441C-FBEE-4352-925F-0745A21765C9}" dt="2023-09-14T12:03:24.792" v="276" actId="478"/>
          <ac:spMkLst>
            <pc:docMk/>
            <pc:sldMk cId="286829603" sldId="2339"/>
            <ac:spMk id="30" creationId="{CE8B19C8-B7AD-466C-3D9B-CF03109A10C9}"/>
          </ac:spMkLst>
        </pc:spChg>
        <pc:spChg chg="add mod">
          <ac:chgData name="van Leeuwen  Sara (VPPL)" userId="7a5f1df4-0dd0-4c9e-a72f-a035cf318af6" providerId="ADAL" clId="{7F83441C-FBEE-4352-925F-0745A21765C9}" dt="2023-09-14T12:03:33.014" v="277" actId="1076"/>
          <ac:spMkLst>
            <pc:docMk/>
            <pc:sldMk cId="286829603" sldId="2339"/>
            <ac:spMk id="31" creationId="{90D245A3-6547-A8A7-9132-8A0860FFBF90}"/>
          </ac:spMkLst>
        </pc:spChg>
        <pc:spChg chg="mod">
          <ac:chgData name="van Leeuwen  Sara (VPPL)" userId="7a5f1df4-0dd0-4c9e-a72f-a035cf318af6" providerId="ADAL" clId="{7F83441C-FBEE-4352-925F-0745A21765C9}" dt="2023-09-14T16:50:09.484" v="2869"/>
          <ac:spMkLst>
            <pc:docMk/>
            <pc:sldMk cId="286829603" sldId="2339"/>
            <ac:spMk id="32" creationId="{D75AFB06-C0D5-C44A-AFA0-9276A7192873}"/>
          </ac:spMkLst>
        </pc:spChg>
        <pc:spChg chg="add mod">
          <ac:chgData name="van Leeuwen  Sara (VPPL)" userId="7a5f1df4-0dd0-4c9e-a72f-a035cf318af6" providerId="ADAL" clId="{7F83441C-FBEE-4352-925F-0745A21765C9}" dt="2023-09-14T12:08:14.209" v="359" actId="1076"/>
          <ac:spMkLst>
            <pc:docMk/>
            <pc:sldMk cId="286829603" sldId="2339"/>
            <ac:spMk id="33" creationId="{282627BB-A3F0-27F3-9756-6AFD3AD87099}"/>
          </ac:spMkLst>
        </pc:spChg>
        <pc:spChg chg="add mod">
          <ac:chgData name="van Leeuwen  Sara (VPPL)" userId="7a5f1df4-0dd0-4c9e-a72f-a035cf318af6" providerId="ADAL" clId="{7F83441C-FBEE-4352-925F-0745A21765C9}" dt="2023-09-14T12:08:14.209" v="359" actId="1076"/>
          <ac:spMkLst>
            <pc:docMk/>
            <pc:sldMk cId="286829603" sldId="2339"/>
            <ac:spMk id="34" creationId="{29B16004-A9CF-6D1F-3737-102F15FFE287}"/>
          </ac:spMkLst>
        </pc:spChg>
        <pc:spChg chg="add mod">
          <ac:chgData name="van Leeuwen  Sara (VPPL)" userId="7a5f1df4-0dd0-4c9e-a72f-a035cf318af6" providerId="ADAL" clId="{7F83441C-FBEE-4352-925F-0745A21765C9}" dt="2023-09-14T12:08:14.209" v="359" actId="1076"/>
          <ac:spMkLst>
            <pc:docMk/>
            <pc:sldMk cId="286829603" sldId="2339"/>
            <ac:spMk id="35" creationId="{25414BE8-4E73-27A2-3FFA-CFBF3946F190}"/>
          </ac:spMkLst>
        </pc:spChg>
        <pc:spChg chg="mod">
          <ac:chgData name="van Leeuwen  Sara (VPPL)" userId="7a5f1df4-0dd0-4c9e-a72f-a035cf318af6" providerId="ADAL" clId="{7F83441C-FBEE-4352-925F-0745A21765C9}" dt="2023-09-14T11:59:30.118" v="182" actId="1076"/>
          <ac:spMkLst>
            <pc:docMk/>
            <pc:sldMk cId="286829603" sldId="2339"/>
            <ac:spMk id="37" creationId="{00000000-0000-0000-0000-000000000000}"/>
          </ac:spMkLst>
        </pc:spChg>
        <pc:spChg chg="mod">
          <ac:chgData name="van Leeuwen  Sara (VPPL)" userId="7a5f1df4-0dd0-4c9e-a72f-a035cf318af6" providerId="ADAL" clId="{7F83441C-FBEE-4352-925F-0745A21765C9}" dt="2023-09-14T12:01:57.716" v="265" actId="20577"/>
          <ac:spMkLst>
            <pc:docMk/>
            <pc:sldMk cId="286829603" sldId="2339"/>
            <ac:spMk id="38" creationId="{00000000-0000-0000-0000-000000000000}"/>
          </ac:spMkLst>
        </pc:spChg>
        <pc:spChg chg="del mod">
          <ac:chgData name="van Leeuwen  Sara (VPPL)" userId="7a5f1df4-0dd0-4c9e-a72f-a035cf318af6" providerId="ADAL" clId="{7F83441C-FBEE-4352-925F-0745A21765C9}" dt="2023-09-14T11:59:23.323" v="181" actId="478"/>
          <ac:spMkLst>
            <pc:docMk/>
            <pc:sldMk cId="286829603" sldId="2339"/>
            <ac:spMk id="40" creationId="{00000000-0000-0000-0000-000000000000}"/>
          </ac:spMkLst>
        </pc:spChg>
        <pc:spChg chg="mod">
          <ac:chgData name="van Leeuwen  Sara (VPPL)" userId="7a5f1df4-0dd0-4c9e-a72f-a035cf318af6" providerId="ADAL" clId="{7F83441C-FBEE-4352-925F-0745A21765C9}" dt="2023-09-14T12:08:26.916" v="363" actId="1038"/>
          <ac:spMkLst>
            <pc:docMk/>
            <pc:sldMk cId="286829603" sldId="2339"/>
            <ac:spMk id="47" creationId="{00000000-0000-0000-0000-000000000000}"/>
          </ac:spMkLst>
        </pc:spChg>
        <pc:spChg chg="mod">
          <ac:chgData name="van Leeuwen  Sara (VPPL)" userId="7a5f1df4-0dd0-4c9e-a72f-a035cf318af6" providerId="ADAL" clId="{7F83441C-FBEE-4352-925F-0745A21765C9}" dt="2023-09-14T12:06:54.313" v="348" actId="20577"/>
          <ac:spMkLst>
            <pc:docMk/>
            <pc:sldMk cId="286829603" sldId="2339"/>
            <ac:spMk id="48" creationId="{00000000-0000-0000-0000-000000000000}"/>
          </ac:spMkLst>
        </pc:spChg>
        <pc:spChg chg="mod">
          <ac:chgData name="van Leeuwen  Sara (VPPL)" userId="7a5f1df4-0dd0-4c9e-a72f-a035cf318af6" providerId="ADAL" clId="{7F83441C-FBEE-4352-925F-0745A21765C9}" dt="2023-09-14T12:06:58.148" v="352" actId="20577"/>
          <ac:spMkLst>
            <pc:docMk/>
            <pc:sldMk cId="286829603" sldId="2339"/>
            <ac:spMk id="50" creationId="{00000000-0000-0000-0000-000000000000}"/>
          </ac:spMkLst>
        </pc:spChg>
        <pc:spChg chg="mod">
          <ac:chgData name="van Leeuwen  Sara (VPPL)" userId="7a5f1df4-0dd0-4c9e-a72f-a035cf318af6" providerId="ADAL" clId="{7F83441C-FBEE-4352-925F-0745A21765C9}" dt="2023-09-14T11:59:30.118" v="182" actId="1076"/>
          <ac:spMkLst>
            <pc:docMk/>
            <pc:sldMk cId="286829603" sldId="2339"/>
            <ac:spMk id="51" creationId="{00000000-0000-0000-0000-000000000000}"/>
          </ac:spMkLst>
        </pc:spChg>
        <pc:grpChg chg="add del mod">
          <ac:chgData name="van Leeuwen  Sara (VPPL)" userId="7a5f1df4-0dd0-4c9e-a72f-a035cf318af6" providerId="ADAL" clId="{7F83441C-FBEE-4352-925F-0745A21765C9}" dt="2023-09-14T12:02:28.666" v="267" actId="478"/>
          <ac:grpSpMkLst>
            <pc:docMk/>
            <pc:sldMk cId="286829603" sldId="2339"/>
            <ac:grpSpMk id="18" creationId="{E15120EC-BDA2-9ADD-7899-7A9FE1C23E91}"/>
          </ac:grpSpMkLst>
        </pc:grpChg>
        <pc:grpChg chg="del mod">
          <ac:chgData name="van Leeuwen  Sara (VPPL)" userId="7a5f1df4-0dd0-4c9e-a72f-a035cf318af6" providerId="ADAL" clId="{7F83441C-FBEE-4352-925F-0745A21765C9}" dt="2023-09-14T12:02:26.839" v="266" actId="478"/>
          <ac:grpSpMkLst>
            <pc:docMk/>
            <pc:sldMk cId="286829603" sldId="2339"/>
            <ac:grpSpMk id="55" creationId="{00000000-0000-0000-0000-000000000000}"/>
          </ac:grpSpMkLst>
        </pc:grpChg>
        <pc:cxnChg chg="mod">
          <ac:chgData name="van Leeuwen  Sara (VPPL)" userId="7a5f1df4-0dd0-4c9e-a72f-a035cf318af6" providerId="ADAL" clId="{7F83441C-FBEE-4352-925F-0745A21765C9}" dt="2023-09-14T11:59:31.517" v="183"/>
          <ac:cxnSpMkLst>
            <pc:docMk/>
            <pc:sldMk cId="286829603" sldId="2339"/>
            <ac:cxnSpMk id="19" creationId="{129B6B0A-3FA3-0873-3372-20ABFCAD7051}"/>
          </ac:cxnSpMkLst>
        </pc:cxnChg>
        <pc:cxnChg chg="mod">
          <ac:chgData name="van Leeuwen  Sara (VPPL)" userId="7a5f1df4-0dd0-4c9e-a72f-a035cf318af6" providerId="ADAL" clId="{7F83441C-FBEE-4352-925F-0745A21765C9}" dt="2023-09-14T11:59:31.517" v="183"/>
          <ac:cxnSpMkLst>
            <pc:docMk/>
            <pc:sldMk cId="286829603" sldId="2339"/>
            <ac:cxnSpMk id="20" creationId="{6BF83D28-5040-1C7E-9DDC-6345CF5A146C}"/>
          </ac:cxnSpMkLst>
        </pc:cxnChg>
        <pc:cxnChg chg="mod">
          <ac:chgData name="van Leeuwen  Sara (VPPL)" userId="7a5f1df4-0dd0-4c9e-a72f-a035cf318af6" providerId="ADAL" clId="{7F83441C-FBEE-4352-925F-0745A21765C9}" dt="2023-09-14T11:59:31.517" v="183"/>
          <ac:cxnSpMkLst>
            <pc:docMk/>
            <pc:sldMk cId="286829603" sldId="2339"/>
            <ac:cxnSpMk id="21" creationId="{6B903027-4F12-3BCF-CCC7-FFDB06B8C78B}"/>
          </ac:cxnSpMkLst>
        </pc:cxnChg>
      </pc:sldChg>
      <pc:sldChg chg="modSp add del mod">
        <pc:chgData name="van Leeuwen  Sara (VPPL)" userId="7a5f1df4-0dd0-4c9e-a72f-a035cf318af6" providerId="ADAL" clId="{7F83441C-FBEE-4352-925F-0745A21765C9}" dt="2023-09-14T12:43:02.138" v="864" actId="47"/>
        <pc:sldMkLst>
          <pc:docMk/>
          <pc:sldMk cId="3900891077" sldId="2341"/>
        </pc:sldMkLst>
        <pc:graphicFrameChg chg="mod">
          <ac:chgData name="van Leeuwen  Sara (VPPL)" userId="7a5f1df4-0dd0-4c9e-a72f-a035cf318af6" providerId="ADAL" clId="{7F83441C-FBEE-4352-925F-0745A21765C9}" dt="2023-09-14T12:42:38.493" v="863"/>
          <ac:graphicFrameMkLst>
            <pc:docMk/>
            <pc:sldMk cId="3900891077" sldId="2341"/>
            <ac:graphicFrameMk id="5" creationId="{77510928-A31D-3741-B2FD-537CBB99D84A}"/>
          </ac:graphicFrameMkLst>
        </pc:graphicFrameChg>
      </pc:sldChg>
      <pc:sldChg chg="del">
        <pc:chgData name="van Leeuwen  Sara (VPPL)" userId="7a5f1df4-0dd0-4c9e-a72f-a035cf318af6" providerId="ADAL" clId="{7F83441C-FBEE-4352-925F-0745A21765C9}" dt="2023-09-14T12:41:21.290" v="857" actId="47"/>
        <pc:sldMkLst>
          <pc:docMk/>
          <pc:sldMk cId="3031542448" sldId="2347"/>
        </pc:sldMkLst>
      </pc:sldChg>
      <pc:sldChg chg="del">
        <pc:chgData name="van Leeuwen  Sara (VPPL)" userId="7a5f1df4-0dd0-4c9e-a72f-a035cf318af6" providerId="ADAL" clId="{7F83441C-FBEE-4352-925F-0745A21765C9}" dt="2023-09-14T13:44:35.014" v="2670" actId="47"/>
        <pc:sldMkLst>
          <pc:docMk/>
          <pc:sldMk cId="1595565413" sldId="2349"/>
        </pc:sldMkLst>
      </pc:sldChg>
      <pc:sldChg chg="addSp delSp modSp mod">
        <pc:chgData name="van Leeuwen  Sara (VPPL)" userId="7a5f1df4-0dd0-4c9e-a72f-a035cf318af6" providerId="ADAL" clId="{7F83441C-FBEE-4352-925F-0745A21765C9}" dt="2023-09-14T16:50:37.804" v="2874"/>
        <pc:sldMkLst>
          <pc:docMk/>
          <pc:sldMk cId="1080794082" sldId="2363"/>
        </pc:sldMkLst>
        <pc:spChg chg="mod">
          <ac:chgData name="van Leeuwen  Sara (VPPL)" userId="7a5f1df4-0dd0-4c9e-a72f-a035cf318af6" providerId="ADAL" clId="{7F83441C-FBEE-4352-925F-0745A21765C9}" dt="2023-09-14T12:18:44.416" v="563" actId="948"/>
          <ac:spMkLst>
            <pc:docMk/>
            <pc:sldMk cId="1080794082" sldId="2363"/>
            <ac:spMk id="2" creationId="{00000000-0000-0000-0000-000000000000}"/>
          </ac:spMkLst>
        </pc:spChg>
        <pc:spChg chg="add del mod modVis">
          <ac:chgData name="van Leeuwen  Sara (VPPL)" userId="7a5f1df4-0dd0-4c9e-a72f-a035cf318af6" providerId="ADAL" clId="{7F83441C-FBEE-4352-925F-0745A21765C9}" dt="2023-09-14T12:18:41.246" v="419"/>
          <ac:spMkLst>
            <pc:docMk/>
            <pc:sldMk cId="1080794082" sldId="2363"/>
            <ac:spMk id="7" creationId="{3F25AA3F-5639-964D-CF7E-E5E4DA300F19}"/>
          </ac:spMkLst>
        </pc:spChg>
        <pc:spChg chg="add del mod modVis">
          <ac:chgData name="van Leeuwen  Sara (VPPL)" userId="7a5f1df4-0dd0-4c9e-a72f-a035cf318af6" providerId="ADAL" clId="{7F83441C-FBEE-4352-925F-0745A21765C9}" dt="2023-09-14T12:18:41.802" v="464"/>
          <ac:spMkLst>
            <pc:docMk/>
            <pc:sldMk cId="1080794082" sldId="2363"/>
            <ac:spMk id="8" creationId="{5E2A6B4D-6548-2D4E-57F6-8F8ACE62BB7B}"/>
          </ac:spMkLst>
        </pc:spChg>
        <pc:spChg chg="del mod">
          <ac:chgData name="van Leeuwen  Sara (VPPL)" userId="7a5f1df4-0dd0-4c9e-a72f-a035cf318af6" providerId="ADAL" clId="{7F83441C-FBEE-4352-925F-0745A21765C9}" dt="2023-09-14T13:02:48.959" v="1993" actId="478"/>
          <ac:spMkLst>
            <pc:docMk/>
            <pc:sldMk cId="1080794082" sldId="2363"/>
            <ac:spMk id="10" creationId="{00000000-0000-0000-0000-000000000000}"/>
          </ac:spMkLst>
        </pc:spChg>
        <pc:spChg chg="add del mod modVis">
          <ac:chgData name="van Leeuwen  Sara (VPPL)" userId="7a5f1df4-0dd0-4c9e-a72f-a035cf318af6" providerId="ADAL" clId="{7F83441C-FBEE-4352-925F-0745A21765C9}" dt="2023-09-14T12:18:42.603" v="510"/>
          <ac:spMkLst>
            <pc:docMk/>
            <pc:sldMk cId="1080794082" sldId="2363"/>
            <ac:spMk id="11" creationId="{42FBAE8B-ED57-8A92-AA5B-6DDAB7AC0D1D}"/>
          </ac:spMkLst>
        </pc:spChg>
        <pc:spChg chg="mod">
          <ac:chgData name="van Leeuwen  Sara (VPPL)" userId="7a5f1df4-0dd0-4c9e-a72f-a035cf318af6" providerId="ADAL" clId="{7F83441C-FBEE-4352-925F-0745A21765C9}" dt="2023-09-14T16:50:37.804" v="2874"/>
          <ac:spMkLst>
            <pc:docMk/>
            <pc:sldMk cId="1080794082" sldId="2363"/>
            <ac:spMk id="12" creationId="{D75AFB06-C0D5-C44A-AFA0-9276A7192873}"/>
          </ac:spMkLst>
        </pc:spChg>
        <pc:spChg chg="del">
          <ac:chgData name="van Leeuwen  Sara (VPPL)" userId="7a5f1df4-0dd0-4c9e-a72f-a035cf318af6" providerId="ADAL" clId="{7F83441C-FBEE-4352-925F-0745A21765C9}" dt="2023-09-14T12:19:59.105" v="608" actId="478"/>
          <ac:spMkLst>
            <pc:docMk/>
            <pc:sldMk cId="1080794082" sldId="2363"/>
            <ac:spMk id="13" creationId="{00000000-0000-0000-0000-000000000000}"/>
          </ac:spMkLst>
        </pc:spChg>
        <pc:spChg chg="del mod">
          <ac:chgData name="van Leeuwen  Sara (VPPL)" userId="7a5f1df4-0dd0-4c9e-a72f-a035cf318af6" providerId="ADAL" clId="{7F83441C-FBEE-4352-925F-0745A21765C9}" dt="2023-09-14T12:21:44.909" v="614" actId="478"/>
          <ac:spMkLst>
            <pc:docMk/>
            <pc:sldMk cId="1080794082" sldId="2363"/>
            <ac:spMk id="14" creationId="{00000000-0000-0000-0000-000000000000}"/>
          </ac:spMkLst>
        </pc:spChg>
        <pc:spChg chg="add del mod modVis">
          <ac:chgData name="van Leeuwen  Sara (VPPL)" userId="7a5f1df4-0dd0-4c9e-a72f-a035cf318af6" providerId="ADAL" clId="{7F83441C-FBEE-4352-925F-0745A21765C9}" dt="2023-09-14T12:18:43.485" v="557"/>
          <ac:spMkLst>
            <pc:docMk/>
            <pc:sldMk cId="1080794082" sldId="2363"/>
            <ac:spMk id="15" creationId="{0F91EB95-DD57-5A91-05DA-F6EE87A7D7BF}"/>
          </ac:spMkLst>
        </pc:spChg>
        <pc:spChg chg="add del mod modVis">
          <ac:chgData name="van Leeuwen  Sara (VPPL)" userId="7a5f1df4-0dd0-4c9e-a72f-a035cf318af6" providerId="ADAL" clId="{7F83441C-FBEE-4352-925F-0745A21765C9}" dt="2023-09-14T12:18:44.447" v="604"/>
          <ac:spMkLst>
            <pc:docMk/>
            <pc:sldMk cId="1080794082" sldId="2363"/>
            <ac:spMk id="16" creationId="{C0819ACC-B593-A252-5E14-7DCC340B49F4}"/>
          </ac:spMkLst>
        </pc:spChg>
        <pc:spChg chg="add mod">
          <ac:chgData name="van Leeuwen  Sara (VPPL)" userId="7a5f1df4-0dd0-4c9e-a72f-a035cf318af6" providerId="ADAL" clId="{7F83441C-FBEE-4352-925F-0745A21765C9}" dt="2023-09-14T12:25:42.796" v="671" actId="113"/>
          <ac:spMkLst>
            <pc:docMk/>
            <pc:sldMk cId="1080794082" sldId="2363"/>
            <ac:spMk id="19" creationId="{A0AA57D8-6525-B82E-1C62-1D086A2C61F0}"/>
          </ac:spMkLst>
        </pc:spChg>
        <pc:spChg chg="add mod">
          <ac:chgData name="van Leeuwen  Sara (VPPL)" userId="7a5f1df4-0dd0-4c9e-a72f-a035cf318af6" providerId="ADAL" clId="{7F83441C-FBEE-4352-925F-0745A21765C9}" dt="2023-09-14T12:25:46.284" v="672" actId="113"/>
          <ac:spMkLst>
            <pc:docMk/>
            <pc:sldMk cId="1080794082" sldId="2363"/>
            <ac:spMk id="20" creationId="{CF7B0E3C-915D-6129-4612-FFB31E8E9DE1}"/>
          </ac:spMkLst>
        </pc:spChg>
        <pc:spChg chg="add del">
          <ac:chgData name="van Leeuwen  Sara (VPPL)" userId="7a5f1df4-0dd0-4c9e-a72f-a035cf318af6" providerId="ADAL" clId="{7F83441C-FBEE-4352-925F-0745A21765C9}" dt="2023-09-14T12:27:25.380" v="696" actId="478"/>
          <ac:spMkLst>
            <pc:docMk/>
            <pc:sldMk cId="1080794082" sldId="2363"/>
            <ac:spMk id="23" creationId="{70A2129E-4D8C-B5F8-B695-903D905675D6}"/>
          </ac:spMkLst>
        </pc:spChg>
        <pc:spChg chg="add mod">
          <ac:chgData name="van Leeuwen  Sara (VPPL)" userId="7a5f1df4-0dd0-4c9e-a72f-a035cf318af6" providerId="ADAL" clId="{7F83441C-FBEE-4352-925F-0745A21765C9}" dt="2023-09-14T12:28:18.970" v="705" actId="113"/>
          <ac:spMkLst>
            <pc:docMk/>
            <pc:sldMk cId="1080794082" sldId="2363"/>
            <ac:spMk id="24" creationId="{75D38813-0E3F-5E16-F430-0CD6F710989C}"/>
          </ac:spMkLst>
        </pc:spChg>
        <pc:spChg chg="add del mod">
          <ac:chgData name="van Leeuwen  Sara (VPPL)" userId="7a5f1df4-0dd0-4c9e-a72f-a035cf318af6" providerId="ADAL" clId="{7F83441C-FBEE-4352-925F-0745A21765C9}" dt="2023-09-14T13:02:46.911" v="1992"/>
          <ac:spMkLst>
            <pc:docMk/>
            <pc:sldMk cId="1080794082" sldId="2363"/>
            <ac:spMk id="27" creationId="{21857EF7-C158-0A0D-5A7D-214A298809F5}"/>
          </ac:spMkLst>
        </pc:spChg>
        <pc:spChg chg="add mod">
          <ac:chgData name="van Leeuwen  Sara (VPPL)" userId="7a5f1df4-0dd0-4c9e-a72f-a035cf318af6" providerId="ADAL" clId="{7F83441C-FBEE-4352-925F-0745A21765C9}" dt="2023-09-14T13:37:33.619" v="2414" actId="1076"/>
          <ac:spMkLst>
            <pc:docMk/>
            <pc:sldMk cId="1080794082" sldId="2363"/>
            <ac:spMk id="28" creationId="{78A878A6-2955-34DC-8D75-4E2128930BD8}"/>
          </ac:spMkLst>
        </pc:spChg>
        <pc:graphicFrameChg chg="mod">
          <ac:chgData name="van Leeuwen  Sara (VPPL)" userId="7a5f1df4-0dd0-4c9e-a72f-a035cf318af6" providerId="ADAL" clId="{7F83441C-FBEE-4352-925F-0745A21765C9}" dt="2023-09-14T12:18:44.447" v="606"/>
          <ac:graphicFrameMkLst>
            <pc:docMk/>
            <pc:sldMk cId="1080794082" sldId="2363"/>
            <ac:graphicFrameMk id="5" creationId="{6CD3BF2A-4B05-1D82-BE24-6EDADE277B81}"/>
          </ac:graphicFrameMkLst>
        </pc:graphicFrameChg>
        <pc:picChg chg="add del mod">
          <ac:chgData name="van Leeuwen  Sara (VPPL)" userId="7a5f1df4-0dd0-4c9e-a72f-a035cf318af6" providerId="ADAL" clId="{7F83441C-FBEE-4352-925F-0745A21765C9}" dt="2023-09-14T12:21:16.309" v="613" actId="478"/>
          <ac:picMkLst>
            <pc:docMk/>
            <pc:sldMk cId="1080794082" sldId="2363"/>
            <ac:picMk id="18" creationId="{0F79A3A3-7384-AF29-AE98-E537FF4C0BD3}"/>
          </ac:picMkLst>
        </pc:picChg>
        <pc:picChg chg="add del mod">
          <ac:chgData name="van Leeuwen  Sara (VPPL)" userId="7a5f1df4-0dd0-4c9e-a72f-a035cf318af6" providerId="ADAL" clId="{7F83441C-FBEE-4352-925F-0745A21765C9}" dt="2023-09-14T12:25:36.566" v="669" actId="478"/>
          <ac:picMkLst>
            <pc:docMk/>
            <pc:sldMk cId="1080794082" sldId="2363"/>
            <ac:picMk id="22" creationId="{B4FB644B-75B7-936B-7D81-8E741AE98BA3}"/>
          </ac:picMkLst>
        </pc:picChg>
        <pc:picChg chg="add mod">
          <ac:chgData name="van Leeuwen  Sara (VPPL)" userId="7a5f1df4-0dd0-4c9e-a72f-a035cf318af6" providerId="ADAL" clId="{7F83441C-FBEE-4352-925F-0745A21765C9}" dt="2023-09-14T12:28:46.896" v="707" actId="1076"/>
          <ac:picMkLst>
            <pc:docMk/>
            <pc:sldMk cId="1080794082" sldId="2363"/>
            <ac:picMk id="26" creationId="{31E44439-1382-DDF9-F549-7C738C45232B}"/>
          </ac:picMkLst>
        </pc:picChg>
      </pc:sldChg>
      <pc:sldChg chg="modSp mod">
        <pc:chgData name="van Leeuwen  Sara (VPPL)" userId="7a5f1df4-0dd0-4c9e-a72f-a035cf318af6" providerId="ADAL" clId="{7F83441C-FBEE-4352-925F-0745A21765C9}" dt="2023-09-14T18:10:40.358" v="6894" actId="20577"/>
        <pc:sldMkLst>
          <pc:docMk/>
          <pc:sldMk cId="1900787555" sldId="2369"/>
        </pc:sldMkLst>
        <pc:spChg chg="mod">
          <ac:chgData name="van Leeuwen  Sara (VPPL)" userId="7a5f1df4-0dd0-4c9e-a72f-a035cf318af6" providerId="ADAL" clId="{7F83441C-FBEE-4352-925F-0745A21765C9}" dt="2023-09-14T18:09:50.935" v="6781" actId="948"/>
          <ac:spMkLst>
            <pc:docMk/>
            <pc:sldMk cId="1900787555" sldId="2369"/>
            <ac:spMk id="2" creationId="{FC65B3EF-08EF-432C-BEBF-CB2B499FB533}"/>
          </ac:spMkLst>
        </pc:spChg>
        <pc:spChg chg="mod">
          <ac:chgData name="van Leeuwen  Sara (VPPL)" userId="7a5f1df4-0dd0-4c9e-a72f-a035cf318af6" providerId="ADAL" clId="{7F83441C-FBEE-4352-925F-0745A21765C9}" dt="2023-09-14T18:10:40.358" v="6894" actId="20577"/>
          <ac:spMkLst>
            <pc:docMk/>
            <pc:sldMk cId="1900787555" sldId="2369"/>
            <ac:spMk id="3" creationId="{D248A836-D270-48AC-93BC-E789F2E8E734}"/>
          </ac:spMkLst>
        </pc:spChg>
        <pc:spChg chg="mod">
          <ac:chgData name="van Leeuwen  Sara (VPPL)" userId="7a5f1df4-0dd0-4c9e-a72f-a035cf318af6" providerId="ADAL" clId="{7F83441C-FBEE-4352-925F-0745A21765C9}" dt="2023-09-14T16:46:47.376" v="2838"/>
          <ac:spMkLst>
            <pc:docMk/>
            <pc:sldMk cId="1900787555" sldId="2369"/>
            <ac:spMk id="5" creationId="{B057CD9C-7E82-4EE5-8D4A-CF1F831FF9E4}"/>
          </ac:spMkLst>
        </pc:spChg>
        <pc:graphicFrameChg chg="mod">
          <ac:chgData name="van Leeuwen  Sara (VPPL)" userId="7a5f1df4-0dd0-4c9e-a72f-a035cf318af6" providerId="ADAL" clId="{7F83441C-FBEE-4352-925F-0745A21765C9}" dt="2023-09-14T18:09:50.935" v="6785"/>
          <ac:graphicFrameMkLst>
            <pc:docMk/>
            <pc:sldMk cId="1900787555" sldId="2369"/>
            <ac:graphicFrameMk id="10" creationId="{5CEC7E4B-C0D8-8565-2536-A0AED66D6795}"/>
          </ac:graphicFrameMkLst>
        </pc:graphicFrameChg>
      </pc:sldChg>
      <pc:sldChg chg="addSp delSp modSp mod">
        <pc:chgData name="van Leeuwen  Sara (VPPL)" userId="7a5f1df4-0dd0-4c9e-a72f-a035cf318af6" providerId="ADAL" clId="{7F83441C-FBEE-4352-925F-0745A21765C9}" dt="2023-09-14T18:16:05.221" v="6962"/>
        <pc:sldMkLst>
          <pc:docMk/>
          <pc:sldMk cId="2700500582" sldId="2374"/>
        </pc:sldMkLst>
        <pc:spChg chg="mod">
          <ac:chgData name="van Leeuwen  Sara (VPPL)" userId="7a5f1df4-0dd0-4c9e-a72f-a035cf318af6" providerId="ADAL" clId="{7F83441C-FBEE-4352-925F-0745A21765C9}" dt="2023-09-14T16:49:50.586" v="2865"/>
          <ac:spMkLst>
            <pc:docMk/>
            <pc:sldMk cId="2700500582" sldId="2374"/>
            <ac:spMk id="8" creationId="{D75AFB06-C0D5-C44A-AFA0-9276A7192873}"/>
          </ac:spMkLst>
        </pc:spChg>
        <pc:spChg chg="add del mod">
          <ac:chgData name="van Leeuwen  Sara (VPPL)" userId="7a5f1df4-0dd0-4c9e-a72f-a035cf318af6" providerId="ADAL" clId="{7F83441C-FBEE-4352-925F-0745A21765C9}" dt="2023-09-14T12:00:56.928" v="231"/>
          <ac:spMkLst>
            <pc:docMk/>
            <pc:sldMk cId="2700500582" sldId="2374"/>
            <ac:spMk id="12" creationId="{CB2154DD-BB48-9EEA-9949-A157D801E53A}"/>
          </ac:spMkLst>
        </pc:spChg>
        <pc:spChg chg="add mod">
          <ac:chgData name="van Leeuwen  Sara (VPPL)" userId="7a5f1df4-0dd0-4c9e-a72f-a035cf318af6" providerId="ADAL" clId="{7F83441C-FBEE-4352-925F-0745A21765C9}" dt="2023-09-14T18:16:05.221" v="6962"/>
          <ac:spMkLst>
            <pc:docMk/>
            <pc:sldMk cId="2700500582" sldId="2374"/>
            <ac:spMk id="13" creationId="{98D738A7-07A9-E3AD-32A3-73C8537729F5}"/>
          </ac:spMkLst>
        </pc:spChg>
      </pc:sldChg>
      <pc:sldChg chg="modSp mod">
        <pc:chgData name="van Leeuwen  Sara (VPPL)" userId="7a5f1df4-0dd0-4c9e-a72f-a035cf318af6" providerId="ADAL" clId="{7F83441C-FBEE-4352-925F-0745A21765C9}" dt="2023-09-14T17:19:11.095" v="2892" actId="14100"/>
        <pc:sldMkLst>
          <pc:docMk/>
          <pc:sldMk cId="3233872304" sldId="2379"/>
        </pc:sldMkLst>
        <pc:spChg chg="mod">
          <ac:chgData name="van Leeuwen  Sara (VPPL)" userId="7a5f1df4-0dd0-4c9e-a72f-a035cf318af6" providerId="ADAL" clId="{7F83441C-FBEE-4352-925F-0745A21765C9}" dt="2023-09-14T17:19:11.095" v="2892" actId="14100"/>
          <ac:spMkLst>
            <pc:docMk/>
            <pc:sldMk cId="3233872304" sldId="2379"/>
            <ac:spMk id="8" creationId="{AC1FB292-90C1-439C-8480-EB4116CF2374}"/>
          </ac:spMkLst>
        </pc:spChg>
      </pc:sldChg>
      <pc:sldChg chg="del ord">
        <pc:chgData name="van Leeuwen  Sara (VPPL)" userId="7a5f1df4-0dd0-4c9e-a72f-a035cf318af6" providerId="ADAL" clId="{7F83441C-FBEE-4352-925F-0745A21765C9}" dt="2023-09-14T13:49:30.081" v="2825" actId="2696"/>
        <pc:sldMkLst>
          <pc:docMk/>
          <pc:sldMk cId="1284695877" sldId="2382"/>
        </pc:sldMkLst>
      </pc:sldChg>
      <pc:sldChg chg="addSp modSp add mod">
        <pc:chgData name="van Leeuwen  Sara (VPPL)" userId="7a5f1df4-0dd0-4c9e-a72f-a035cf318af6" providerId="ADAL" clId="{7F83441C-FBEE-4352-925F-0745A21765C9}" dt="2023-09-14T18:21:54.563" v="6989" actId="1076"/>
        <pc:sldMkLst>
          <pc:docMk/>
          <pc:sldMk cId="1734056380" sldId="2382"/>
        </pc:sldMkLst>
        <pc:spChg chg="add mod">
          <ac:chgData name="van Leeuwen  Sara (VPPL)" userId="7a5f1df4-0dd0-4c9e-a72f-a035cf318af6" providerId="ADAL" clId="{7F83441C-FBEE-4352-925F-0745A21765C9}" dt="2023-09-14T18:21:54.563" v="6989" actId="1076"/>
          <ac:spMkLst>
            <pc:docMk/>
            <pc:sldMk cId="1734056380" sldId="2382"/>
            <ac:spMk id="7" creationId="{7CBD4836-0DAE-D3D0-C715-BD7C4D091132}"/>
          </ac:spMkLst>
        </pc:spChg>
        <pc:spChg chg="mod">
          <ac:chgData name="van Leeuwen  Sara (VPPL)" userId="7a5f1df4-0dd0-4c9e-a72f-a035cf318af6" providerId="ADAL" clId="{7F83441C-FBEE-4352-925F-0745A21765C9}" dt="2023-09-14T16:49:39.003" v="2862"/>
          <ac:spMkLst>
            <pc:docMk/>
            <pc:sldMk cId="1734056380" sldId="2382"/>
            <ac:spMk id="8" creationId="{D75AFB06-C0D5-C44A-AFA0-9276A7192873}"/>
          </ac:spMkLst>
        </pc:spChg>
      </pc:sldChg>
      <pc:sldChg chg="delSp del mod">
        <pc:chgData name="van Leeuwen  Sara (VPPL)" userId="7a5f1df4-0dd0-4c9e-a72f-a035cf318af6" providerId="ADAL" clId="{7F83441C-FBEE-4352-925F-0745A21765C9}" dt="2023-09-14T13:50:09.121" v="2830" actId="47"/>
        <pc:sldMkLst>
          <pc:docMk/>
          <pc:sldMk cId="4131565708" sldId="2386"/>
        </pc:sldMkLst>
        <pc:spChg chg="del">
          <ac:chgData name="van Leeuwen  Sara (VPPL)" userId="7a5f1df4-0dd0-4c9e-a72f-a035cf318af6" providerId="ADAL" clId="{7F83441C-FBEE-4352-925F-0745A21765C9}" dt="2023-09-14T13:50:02.833" v="2828" actId="21"/>
          <ac:spMkLst>
            <pc:docMk/>
            <pc:sldMk cId="4131565708" sldId="2386"/>
            <ac:spMk id="11" creationId="{730DD365-6EDB-43B5-A5F0-3694C874CCFC}"/>
          </ac:spMkLst>
        </pc:spChg>
      </pc:sldChg>
      <pc:sldChg chg="del">
        <pc:chgData name="van Leeuwen  Sara (VPPL)" userId="7a5f1df4-0dd0-4c9e-a72f-a035cf318af6" providerId="ADAL" clId="{7F83441C-FBEE-4352-925F-0745A21765C9}" dt="2023-09-14T13:44:35.124" v="2671" actId="47"/>
        <pc:sldMkLst>
          <pc:docMk/>
          <pc:sldMk cId="1606784056" sldId="2387"/>
        </pc:sldMkLst>
      </pc:sldChg>
      <pc:sldChg chg="addSp delSp modSp mod">
        <pc:chgData name="van Leeuwen  Sara (VPPL)" userId="7a5f1df4-0dd0-4c9e-a72f-a035cf318af6" providerId="ADAL" clId="{7F83441C-FBEE-4352-925F-0745A21765C9}" dt="2023-09-14T16:52:06.570" v="2887"/>
        <pc:sldMkLst>
          <pc:docMk/>
          <pc:sldMk cId="1769867695" sldId="2392"/>
        </pc:sldMkLst>
        <pc:spChg chg="mod">
          <ac:chgData name="van Leeuwen  Sara (VPPL)" userId="7a5f1df4-0dd0-4c9e-a72f-a035cf318af6" providerId="ADAL" clId="{7F83441C-FBEE-4352-925F-0745A21765C9}" dt="2023-09-14T16:52:06.570" v="2887"/>
          <ac:spMkLst>
            <pc:docMk/>
            <pc:sldMk cId="1769867695" sldId="2392"/>
            <ac:spMk id="8" creationId="{D75AFB06-C0D5-C44A-AFA0-9276A7192873}"/>
          </ac:spMkLst>
        </pc:spChg>
        <pc:spChg chg="add mod">
          <ac:chgData name="van Leeuwen  Sara (VPPL)" userId="7a5f1df4-0dd0-4c9e-a72f-a035cf318af6" providerId="ADAL" clId="{7F83441C-FBEE-4352-925F-0745A21765C9}" dt="2023-09-14T12:01:28.232" v="238" actId="108"/>
          <ac:spMkLst>
            <pc:docMk/>
            <pc:sldMk cId="1769867695" sldId="2392"/>
            <ac:spMk id="9" creationId="{5C1197DD-DFB9-D466-CA64-DF4F078EF8F3}"/>
          </ac:spMkLst>
        </pc:spChg>
        <pc:spChg chg="add del mod">
          <ac:chgData name="van Leeuwen  Sara (VPPL)" userId="7a5f1df4-0dd0-4c9e-a72f-a035cf318af6" providerId="ADAL" clId="{7F83441C-FBEE-4352-925F-0745A21765C9}" dt="2023-09-14T16:51:53.990" v="2886"/>
          <ac:spMkLst>
            <pc:docMk/>
            <pc:sldMk cId="1769867695" sldId="2392"/>
            <ac:spMk id="11" creationId="{21E75120-FBC8-9264-6C8D-3A10AB3CA3ED}"/>
          </ac:spMkLst>
        </pc:spChg>
      </pc:sldChg>
      <pc:sldChg chg="modSp mod">
        <pc:chgData name="van Leeuwen  Sara (VPPL)" userId="7a5f1df4-0dd0-4c9e-a72f-a035cf318af6" providerId="ADAL" clId="{7F83441C-FBEE-4352-925F-0745A21765C9}" dt="2023-09-14T17:19:42.491" v="2961" actId="20577"/>
        <pc:sldMkLst>
          <pc:docMk/>
          <pc:sldMk cId="2631741042" sldId="2394"/>
        </pc:sldMkLst>
        <pc:spChg chg="mod">
          <ac:chgData name="van Leeuwen  Sara (VPPL)" userId="7a5f1df4-0dd0-4c9e-a72f-a035cf318af6" providerId="ADAL" clId="{7F83441C-FBEE-4352-925F-0745A21765C9}" dt="2023-09-14T17:19:42.491" v="2961" actId="20577"/>
          <ac:spMkLst>
            <pc:docMk/>
            <pc:sldMk cId="2631741042" sldId="2394"/>
            <ac:spMk id="3" creationId="{E9BBD3EE-C606-408E-8853-A8E4F45E02CE}"/>
          </ac:spMkLst>
        </pc:spChg>
        <pc:spChg chg="mod">
          <ac:chgData name="van Leeuwen  Sara (VPPL)" userId="7a5f1df4-0dd0-4c9e-a72f-a035cf318af6" providerId="ADAL" clId="{7F83441C-FBEE-4352-925F-0745A21765C9}" dt="2023-09-14T12:58:25.895" v="1694"/>
          <ac:spMkLst>
            <pc:docMk/>
            <pc:sldMk cId="2631741042" sldId="2394"/>
            <ac:spMk id="5" creationId="{0DF16D9C-E39F-48C7-B71A-BE99D6CB0F36}"/>
          </ac:spMkLst>
        </pc:spChg>
      </pc:sldChg>
      <pc:sldChg chg="addSp delSp modSp mod">
        <pc:chgData name="van Leeuwen  Sara (VPPL)" userId="7a5f1df4-0dd0-4c9e-a72f-a035cf318af6" providerId="ADAL" clId="{7F83441C-FBEE-4352-925F-0745A21765C9}" dt="2023-09-14T18:16:18.008" v="6963" actId="255"/>
        <pc:sldMkLst>
          <pc:docMk/>
          <pc:sldMk cId="282434247" sldId="2395"/>
        </pc:sldMkLst>
        <pc:spChg chg="mod">
          <ac:chgData name="van Leeuwen  Sara (VPPL)" userId="7a5f1df4-0dd0-4c9e-a72f-a035cf318af6" providerId="ADAL" clId="{7F83441C-FBEE-4352-925F-0745A21765C9}" dt="2023-09-14T18:16:18.008" v="6963" actId="255"/>
          <ac:spMkLst>
            <pc:docMk/>
            <pc:sldMk cId="282434247" sldId="2395"/>
            <ac:spMk id="3" creationId="{E9BBD3EE-C606-408E-8853-A8E4F45E02CE}"/>
          </ac:spMkLst>
        </pc:spChg>
        <pc:spChg chg="mod">
          <ac:chgData name="van Leeuwen  Sara (VPPL)" userId="7a5f1df4-0dd0-4c9e-a72f-a035cf318af6" providerId="ADAL" clId="{7F83441C-FBEE-4352-925F-0745A21765C9}" dt="2023-09-14T16:50:00.751" v="2867"/>
          <ac:spMkLst>
            <pc:docMk/>
            <pc:sldMk cId="282434247" sldId="2395"/>
            <ac:spMk id="5" creationId="{0DF16D9C-E39F-48C7-B71A-BE99D6CB0F36}"/>
          </ac:spMkLst>
        </pc:spChg>
        <pc:spChg chg="add del mod">
          <ac:chgData name="van Leeuwen  Sara (VPPL)" userId="7a5f1df4-0dd0-4c9e-a72f-a035cf318af6" providerId="ADAL" clId="{7F83441C-FBEE-4352-925F-0745A21765C9}" dt="2023-09-14T16:51:41.495" v="2884"/>
          <ac:spMkLst>
            <pc:docMk/>
            <pc:sldMk cId="282434247" sldId="2395"/>
            <ac:spMk id="13" creationId="{590F77D2-4698-F342-A72F-84F70058A9D6}"/>
          </ac:spMkLst>
        </pc:spChg>
      </pc:sldChg>
      <pc:sldChg chg="del ord">
        <pc:chgData name="van Leeuwen  Sara (VPPL)" userId="7a5f1df4-0dd0-4c9e-a72f-a035cf318af6" providerId="ADAL" clId="{7F83441C-FBEE-4352-925F-0745A21765C9}" dt="2023-09-14T13:49:30.081" v="2825" actId="2696"/>
        <pc:sldMkLst>
          <pc:docMk/>
          <pc:sldMk cId="533780484" sldId="2397"/>
        </pc:sldMkLst>
      </pc:sldChg>
      <pc:sldChg chg="addSp modSp add mod">
        <pc:chgData name="van Leeuwen  Sara (VPPL)" userId="7a5f1df4-0dd0-4c9e-a72f-a035cf318af6" providerId="ADAL" clId="{7F83441C-FBEE-4352-925F-0745A21765C9}" dt="2023-09-14T17:21:22.008" v="3097"/>
        <pc:sldMkLst>
          <pc:docMk/>
          <pc:sldMk cId="2664544122" sldId="2397"/>
        </pc:sldMkLst>
        <pc:spChg chg="add mod">
          <ac:chgData name="van Leeuwen  Sara (VPPL)" userId="7a5f1df4-0dd0-4c9e-a72f-a035cf318af6" providerId="ADAL" clId="{7F83441C-FBEE-4352-925F-0745A21765C9}" dt="2023-09-14T17:21:22.008" v="3097"/>
          <ac:spMkLst>
            <pc:docMk/>
            <pc:sldMk cId="2664544122" sldId="2397"/>
            <ac:spMk id="7" creationId="{BBE013B7-771F-499E-B672-1096E6166067}"/>
          </ac:spMkLst>
        </pc:spChg>
        <pc:spChg chg="mod">
          <ac:chgData name="van Leeuwen  Sara (VPPL)" userId="7a5f1df4-0dd0-4c9e-a72f-a035cf318af6" providerId="ADAL" clId="{7F83441C-FBEE-4352-925F-0745A21765C9}" dt="2023-09-14T16:49:42.898" v="2863"/>
          <ac:spMkLst>
            <pc:docMk/>
            <pc:sldMk cId="2664544122" sldId="2397"/>
            <ac:spMk id="8" creationId="{D75AFB06-C0D5-C44A-AFA0-9276A7192873}"/>
          </ac:spMkLst>
        </pc:spChg>
      </pc:sldChg>
      <pc:sldChg chg="addSp delSp modSp mod">
        <pc:chgData name="van Leeuwen  Sara (VPPL)" userId="7a5f1df4-0dd0-4c9e-a72f-a035cf318af6" providerId="ADAL" clId="{7F83441C-FBEE-4352-925F-0745A21765C9}" dt="2023-09-14T18:19:37.328" v="6983" actId="20577"/>
        <pc:sldMkLst>
          <pc:docMk/>
          <pc:sldMk cId="54911923" sldId="2398"/>
        </pc:sldMkLst>
        <pc:spChg chg="del mod">
          <ac:chgData name="van Leeuwen  Sara (VPPL)" userId="7a5f1df4-0dd0-4c9e-a72f-a035cf318af6" providerId="ADAL" clId="{7F83441C-FBEE-4352-925F-0745A21765C9}" dt="2023-09-14T16:51:22.183" v="2881" actId="478"/>
          <ac:spMkLst>
            <pc:docMk/>
            <pc:sldMk cId="54911923" sldId="2398"/>
            <ac:spMk id="5" creationId="{87FCD42A-F1D2-4DF0-91E9-79543C5EA909}"/>
          </ac:spMkLst>
        </pc:spChg>
        <pc:spChg chg="add mod">
          <ac:chgData name="van Leeuwen  Sara (VPPL)" userId="7a5f1df4-0dd0-4c9e-a72f-a035cf318af6" providerId="ADAL" clId="{7F83441C-FBEE-4352-925F-0745A21765C9}" dt="2023-09-14T16:51:27.655" v="2882"/>
          <ac:spMkLst>
            <pc:docMk/>
            <pc:sldMk cId="54911923" sldId="2398"/>
            <ac:spMk id="22" creationId="{CD6A7308-16BD-0457-C9AD-D60ED7C5E243}"/>
          </ac:spMkLst>
        </pc:spChg>
        <pc:spChg chg="mod">
          <ac:chgData name="van Leeuwen  Sara (VPPL)" userId="7a5f1df4-0dd0-4c9e-a72f-a035cf318af6" providerId="ADAL" clId="{7F83441C-FBEE-4352-925F-0745A21765C9}" dt="2023-09-14T18:19:37.328" v="6983" actId="20577"/>
          <ac:spMkLst>
            <pc:docMk/>
            <pc:sldMk cId="54911923" sldId="2398"/>
            <ac:spMk id="37" creationId="{166FA689-72C3-40C8-B811-164178E71FB6}"/>
          </ac:spMkLst>
        </pc:spChg>
      </pc:sldChg>
      <pc:sldChg chg="modSp mod">
        <pc:chgData name="van Leeuwen  Sara (VPPL)" userId="7a5f1df4-0dd0-4c9e-a72f-a035cf318af6" providerId="ADAL" clId="{7F83441C-FBEE-4352-925F-0745A21765C9}" dt="2023-09-14T16:52:23.853" v="2889"/>
        <pc:sldMkLst>
          <pc:docMk/>
          <pc:sldMk cId="1578806444" sldId="2407"/>
        </pc:sldMkLst>
        <pc:spChg chg="mod">
          <ac:chgData name="van Leeuwen  Sara (VPPL)" userId="7a5f1df4-0dd0-4c9e-a72f-a035cf318af6" providerId="ADAL" clId="{7F83441C-FBEE-4352-925F-0745A21765C9}" dt="2023-09-14T16:52:23.853" v="2889"/>
          <ac:spMkLst>
            <pc:docMk/>
            <pc:sldMk cId="1578806444" sldId="2407"/>
            <ac:spMk id="5" creationId="{85D9BC9D-3DA7-45F6-B926-A87C277DD9F8}"/>
          </ac:spMkLst>
        </pc:spChg>
      </pc:sldChg>
      <pc:sldChg chg="modSp mod">
        <pc:chgData name="van Leeuwen  Sara (VPPL)" userId="7a5f1df4-0dd0-4c9e-a72f-a035cf318af6" providerId="ADAL" clId="{7F83441C-FBEE-4352-925F-0745A21765C9}" dt="2023-09-14T16:50:13.679" v="2870"/>
        <pc:sldMkLst>
          <pc:docMk/>
          <pc:sldMk cId="2354758104" sldId="2408"/>
        </pc:sldMkLst>
        <pc:spChg chg="mod">
          <ac:chgData name="van Leeuwen  Sara (VPPL)" userId="7a5f1df4-0dd0-4c9e-a72f-a035cf318af6" providerId="ADAL" clId="{7F83441C-FBEE-4352-925F-0745A21765C9}" dt="2023-09-14T16:50:13.679" v="2870"/>
          <ac:spMkLst>
            <pc:docMk/>
            <pc:sldMk cId="2354758104" sldId="2408"/>
            <ac:spMk id="8" creationId="{D75AFB06-C0D5-C44A-AFA0-9276A7192873}"/>
          </ac:spMkLst>
        </pc:spChg>
        <pc:graphicFrameChg chg="mod modGraphic">
          <ac:chgData name="van Leeuwen  Sara (VPPL)" userId="7a5f1df4-0dd0-4c9e-a72f-a035cf318af6" providerId="ADAL" clId="{7F83441C-FBEE-4352-925F-0745A21765C9}" dt="2023-09-14T12:36:42.936" v="839" actId="14100"/>
          <ac:graphicFrameMkLst>
            <pc:docMk/>
            <pc:sldMk cId="2354758104" sldId="2408"/>
            <ac:graphicFrameMk id="10" creationId="{9B7E8B9D-5F9A-4F11-B14F-FECAB6CF2579}"/>
          </ac:graphicFrameMkLst>
        </pc:graphicFrameChg>
      </pc:sldChg>
      <pc:sldChg chg="del">
        <pc:chgData name="van Leeuwen  Sara (VPPL)" userId="7a5f1df4-0dd0-4c9e-a72f-a035cf318af6" providerId="ADAL" clId="{7F83441C-FBEE-4352-925F-0745A21765C9}" dt="2023-09-14T12:13:02.123" v="370" actId="47"/>
        <pc:sldMkLst>
          <pc:docMk/>
          <pc:sldMk cId="3070690106" sldId="2409"/>
        </pc:sldMkLst>
      </pc:sldChg>
      <pc:sldChg chg="modSp del mod">
        <pc:chgData name="van Leeuwen  Sara (VPPL)" userId="7a5f1df4-0dd0-4c9e-a72f-a035cf318af6" providerId="ADAL" clId="{7F83441C-FBEE-4352-925F-0745A21765C9}" dt="2023-09-14T18:21:19.132" v="6988" actId="47"/>
        <pc:sldMkLst>
          <pc:docMk/>
          <pc:sldMk cId="1776128425" sldId="2412"/>
        </pc:sldMkLst>
        <pc:spChg chg="mod">
          <ac:chgData name="van Leeuwen  Sara (VPPL)" userId="7a5f1df4-0dd0-4c9e-a72f-a035cf318af6" providerId="ADAL" clId="{7F83441C-FBEE-4352-925F-0745A21765C9}" dt="2023-09-14T18:20:33.374" v="6984" actId="1076"/>
          <ac:spMkLst>
            <pc:docMk/>
            <pc:sldMk cId="1776128425" sldId="2412"/>
            <ac:spMk id="7" creationId="{4EEF28D3-ECB8-4C59-9270-E65402E2F891}"/>
          </ac:spMkLst>
        </pc:spChg>
        <pc:spChg chg="mod">
          <ac:chgData name="van Leeuwen  Sara (VPPL)" userId="7a5f1df4-0dd0-4c9e-a72f-a035cf318af6" providerId="ADAL" clId="{7F83441C-FBEE-4352-925F-0745A21765C9}" dt="2023-09-14T18:21:04.994" v="6985" actId="1076"/>
          <ac:spMkLst>
            <pc:docMk/>
            <pc:sldMk cId="1776128425" sldId="2412"/>
            <ac:spMk id="9" creationId="{0E2807F2-D9BD-433B-B6EF-CF115AF7F215}"/>
          </ac:spMkLst>
        </pc:spChg>
      </pc:sldChg>
      <pc:sldChg chg="del">
        <pc:chgData name="van Leeuwen  Sara (VPPL)" userId="7a5f1df4-0dd0-4c9e-a72f-a035cf318af6" providerId="ADAL" clId="{7F83441C-FBEE-4352-925F-0745A21765C9}" dt="2023-09-14T12:12:54.579" v="368" actId="47"/>
        <pc:sldMkLst>
          <pc:docMk/>
          <pc:sldMk cId="2403091856" sldId="2413"/>
        </pc:sldMkLst>
      </pc:sldChg>
      <pc:sldChg chg="addSp modSp mod">
        <pc:chgData name="van Leeuwen  Sara (VPPL)" userId="7a5f1df4-0dd0-4c9e-a72f-a035cf318af6" providerId="ADAL" clId="{7F83441C-FBEE-4352-925F-0745A21765C9}" dt="2023-09-14T16:50:17.689" v="2871"/>
        <pc:sldMkLst>
          <pc:docMk/>
          <pc:sldMk cId="456252200" sldId="2414"/>
        </pc:sldMkLst>
        <pc:spChg chg="mod">
          <ac:chgData name="van Leeuwen  Sara (VPPL)" userId="7a5f1df4-0dd0-4c9e-a72f-a035cf318af6" providerId="ADAL" clId="{7F83441C-FBEE-4352-925F-0745A21765C9}" dt="2023-09-14T16:50:17.689" v="2871"/>
          <ac:spMkLst>
            <pc:docMk/>
            <pc:sldMk cId="456252200" sldId="2414"/>
            <ac:spMk id="8" creationId="{D75AFB06-C0D5-C44A-AFA0-9276A7192873}"/>
          </ac:spMkLst>
        </pc:spChg>
        <pc:graphicFrameChg chg="add mod modGraphic">
          <ac:chgData name="van Leeuwen  Sara (VPPL)" userId="7a5f1df4-0dd0-4c9e-a72f-a035cf318af6" providerId="ADAL" clId="{7F83441C-FBEE-4352-925F-0745A21765C9}" dt="2023-09-14T12:37:46.773" v="842" actId="207"/>
          <ac:graphicFrameMkLst>
            <pc:docMk/>
            <pc:sldMk cId="456252200" sldId="2414"/>
            <ac:graphicFrameMk id="7" creationId="{E28215B8-1D8F-71F5-5163-55814B542277}"/>
          </ac:graphicFrameMkLst>
        </pc:graphicFrameChg>
      </pc:sldChg>
      <pc:sldChg chg="addSp modSp mod">
        <pc:chgData name="van Leeuwen  Sara (VPPL)" userId="7a5f1df4-0dd0-4c9e-a72f-a035cf318af6" providerId="ADAL" clId="{7F83441C-FBEE-4352-925F-0745A21765C9}" dt="2023-09-14T16:50:34.251" v="2873"/>
        <pc:sldMkLst>
          <pc:docMk/>
          <pc:sldMk cId="1201837209" sldId="2415"/>
        </pc:sldMkLst>
        <pc:spChg chg="mod">
          <ac:chgData name="van Leeuwen  Sara (VPPL)" userId="7a5f1df4-0dd0-4c9e-a72f-a035cf318af6" providerId="ADAL" clId="{7F83441C-FBEE-4352-925F-0745A21765C9}" dt="2023-09-14T16:50:34.251" v="2873"/>
          <ac:spMkLst>
            <pc:docMk/>
            <pc:sldMk cId="1201837209" sldId="2415"/>
            <ac:spMk id="8" creationId="{D75AFB06-C0D5-C44A-AFA0-9276A7192873}"/>
          </ac:spMkLst>
        </pc:spChg>
        <pc:graphicFrameChg chg="add mod modGraphic">
          <ac:chgData name="van Leeuwen  Sara (VPPL)" userId="7a5f1df4-0dd0-4c9e-a72f-a035cf318af6" providerId="ADAL" clId="{7F83441C-FBEE-4352-925F-0745A21765C9}" dt="2023-09-14T12:38:36.817" v="845" actId="207"/>
          <ac:graphicFrameMkLst>
            <pc:docMk/>
            <pc:sldMk cId="1201837209" sldId="2415"/>
            <ac:graphicFrameMk id="7" creationId="{CB071684-A6F4-AD2D-614B-7C0DA5000E7A}"/>
          </ac:graphicFrameMkLst>
        </pc:graphicFrameChg>
      </pc:sldChg>
      <pc:sldChg chg="modSp del mod">
        <pc:chgData name="van Leeuwen  Sara (VPPL)" userId="7a5f1df4-0dd0-4c9e-a72f-a035cf318af6" providerId="ADAL" clId="{7F83441C-FBEE-4352-925F-0745A21765C9}" dt="2023-09-14T12:39:09.056" v="848" actId="47"/>
        <pc:sldMkLst>
          <pc:docMk/>
          <pc:sldMk cId="3687683416" sldId="2416"/>
        </pc:sldMkLst>
        <pc:graphicFrameChg chg="modGraphic">
          <ac:chgData name="van Leeuwen  Sara (VPPL)" userId="7a5f1df4-0dd0-4c9e-a72f-a035cf318af6" providerId="ADAL" clId="{7F83441C-FBEE-4352-925F-0745A21765C9}" dt="2023-09-14T12:29:13.175" v="724" actId="20577"/>
          <ac:graphicFrameMkLst>
            <pc:docMk/>
            <pc:sldMk cId="3687683416" sldId="2416"/>
            <ac:graphicFrameMk id="10" creationId="{9B7E8B9D-5F9A-4F11-B14F-FECAB6CF2579}"/>
          </ac:graphicFrameMkLst>
        </pc:graphicFrameChg>
      </pc:sldChg>
      <pc:sldChg chg="del">
        <pc:chgData name="van Leeuwen  Sara (VPPL)" userId="7a5f1df4-0dd0-4c9e-a72f-a035cf318af6" providerId="ADAL" clId="{7F83441C-FBEE-4352-925F-0745A21765C9}" dt="2023-09-14T12:40:27.718" v="855" actId="47"/>
        <pc:sldMkLst>
          <pc:docMk/>
          <pc:sldMk cId="3795325095" sldId="2418"/>
        </pc:sldMkLst>
      </pc:sldChg>
      <pc:sldChg chg="del">
        <pc:chgData name="van Leeuwen  Sara (VPPL)" userId="7a5f1df4-0dd0-4c9e-a72f-a035cf318af6" providerId="ADAL" clId="{7F83441C-FBEE-4352-925F-0745A21765C9}" dt="2023-09-14T12:43:19.348" v="867" actId="47"/>
        <pc:sldMkLst>
          <pc:docMk/>
          <pc:sldMk cId="3733623130" sldId="2419"/>
        </pc:sldMkLst>
      </pc:sldChg>
      <pc:sldChg chg="del">
        <pc:chgData name="van Leeuwen  Sara (VPPL)" userId="7a5f1df4-0dd0-4c9e-a72f-a035cf318af6" providerId="ADAL" clId="{7F83441C-FBEE-4352-925F-0745A21765C9}" dt="2023-09-14T13:28:42.993" v="2354" actId="47"/>
        <pc:sldMkLst>
          <pc:docMk/>
          <pc:sldMk cId="1979132634" sldId="2420"/>
        </pc:sldMkLst>
      </pc:sldChg>
      <pc:sldChg chg="addSp delSp modSp mod ord">
        <pc:chgData name="van Leeuwen  Sara (VPPL)" userId="7a5f1df4-0dd0-4c9e-a72f-a035cf318af6" providerId="ADAL" clId="{7F83441C-FBEE-4352-925F-0745A21765C9}" dt="2023-09-14T18:11:20.579" v="6895" actId="255"/>
        <pc:sldMkLst>
          <pc:docMk/>
          <pc:sldMk cId="1257036896" sldId="2421"/>
        </pc:sldMkLst>
        <pc:spChg chg="mod">
          <ac:chgData name="van Leeuwen  Sara (VPPL)" userId="7a5f1df4-0dd0-4c9e-a72f-a035cf318af6" providerId="ADAL" clId="{7F83441C-FBEE-4352-925F-0745A21765C9}" dt="2023-09-14T16:50:42.426" v="2875"/>
          <ac:spMkLst>
            <pc:docMk/>
            <pc:sldMk cId="1257036896" sldId="2421"/>
            <ac:spMk id="5" creationId="{B4E16BDA-60AE-4049-B980-EBCC04B91BB3}"/>
          </ac:spMkLst>
        </pc:spChg>
        <pc:spChg chg="add del mod modVis">
          <ac:chgData name="van Leeuwen  Sara (VPPL)" userId="7a5f1df4-0dd0-4c9e-a72f-a035cf318af6" providerId="ADAL" clId="{7F83441C-FBEE-4352-925F-0745A21765C9}" dt="2023-09-14T12:48:23.979" v="919"/>
          <ac:spMkLst>
            <pc:docMk/>
            <pc:sldMk cId="1257036896" sldId="2421"/>
            <ac:spMk id="7" creationId="{53C51FF0-9724-393B-A65C-934D59388A27}"/>
          </ac:spMkLst>
        </pc:spChg>
        <pc:spChg chg="mod">
          <ac:chgData name="van Leeuwen  Sara (VPPL)" userId="7a5f1df4-0dd0-4c9e-a72f-a035cf318af6" providerId="ADAL" clId="{7F83441C-FBEE-4352-925F-0745A21765C9}" dt="2023-09-14T12:48:37.976" v="1138" actId="948"/>
          <ac:spMkLst>
            <pc:docMk/>
            <pc:sldMk cId="1257036896" sldId="2421"/>
            <ac:spMk id="8" creationId="{7615A340-A42F-4355-AF9F-1FA9C8C871B5}"/>
          </ac:spMkLst>
        </pc:spChg>
        <pc:spChg chg="mod">
          <ac:chgData name="van Leeuwen  Sara (VPPL)" userId="7a5f1df4-0dd0-4c9e-a72f-a035cf318af6" providerId="ADAL" clId="{7F83441C-FBEE-4352-925F-0745A21765C9}" dt="2023-09-14T18:11:20.579" v="6895" actId="255"/>
          <ac:spMkLst>
            <pc:docMk/>
            <pc:sldMk cId="1257036896" sldId="2421"/>
            <ac:spMk id="9" creationId="{9209AE63-3AA5-4052-B998-05A99361B659}"/>
          </ac:spMkLst>
        </pc:spChg>
        <pc:spChg chg="add del mod modVis">
          <ac:chgData name="van Leeuwen  Sara (VPPL)" userId="7a5f1df4-0dd0-4c9e-a72f-a035cf318af6" providerId="ADAL" clId="{7F83441C-FBEE-4352-925F-0745A21765C9}" dt="2023-09-14T12:48:31.774" v="985"/>
          <ac:spMkLst>
            <pc:docMk/>
            <pc:sldMk cId="1257036896" sldId="2421"/>
            <ac:spMk id="11" creationId="{E67A2D73-23B4-3881-2916-7722E576F0EA}"/>
          </ac:spMkLst>
        </pc:spChg>
        <pc:spChg chg="add del mod modVis">
          <ac:chgData name="van Leeuwen  Sara (VPPL)" userId="7a5f1df4-0dd0-4c9e-a72f-a035cf318af6" providerId="ADAL" clId="{7F83441C-FBEE-4352-925F-0745A21765C9}" dt="2023-09-14T12:48:33.082" v="1034"/>
          <ac:spMkLst>
            <pc:docMk/>
            <pc:sldMk cId="1257036896" sldId="2421"/>
            <ac:spMk id="12" creationId="{DF67FBE5-3667-681C-237D-27B95196F57F}"/>
          </ac:spMkLst>
        </pc:spChg>
        <pc:spChg chg="add del mod modVis">
          <ac:chgData name="van Leeuwen  Sara (VPPL)" userId="7a5f1df4-0dd0-4c9e-a72f-a035cf318af6" providerId="ADAL" clId="{7F83441C-FBEE-4352-925F-0745A21765C9}" dt="2023-09-14T12:48:34.390" v="1082"/>
          <ac:spMkLst>
            <pc:docMk/>
            <pc:sldMk cId="1257036896" sldId="2421"/>
            <ac:spMk id="14" creationId="{496901CC-14D0-69BE-EC91-266DAE6CE231}"/>
          </ac:spMkLst>
        </pc:spChg>
        <pc:spChg chg="add del mod modVis">
          <ac:chgData name="van Leeuwen  Sara (VPPL)" userId="7a5f1df4-0dd0-4c9e-a72f-a035cf318af6" providerId="ADAL" clId="{7F83441C-FBEE-4352-925F-0745A21765C9}" dt="2023-09-14T12:48:35.885" v="1127"/>
          <ac:spMkLst>
            <pc:docMk/>
            <pc:sldMk cId="1257036896" sldId="2421"/>
            <ac:spMk id="15" creationId="{85D18DAA-F713-663F-DB96-66ED2A87207F}"/>
          </ac:spMkLst>
        </pc:spChg>
        <pc:spChg chg="add del mod modVis">
          <ac:chgData name="van Leeuwen  Sara (VPPL)" userId="7a5f1df4-0dd0-4c9e-a72f-a035cf318af6" providerId="ADAL" clId="{7F83441C-FBEE-4352-925F-0745A21765C9}" dt="2023-09-14T12:48:38.007" v="1179"/>
          <ac:spMkLst>
            <pc:docMk/>
            <pc:sldMk cId="1257036896" sldId="2421"/>
            <ac:spMk id="16" creationId="{57E24F20-5D87-383A-6114-931C77F0A35A}"/>
          </ac:spMkLst>
        </pc:spChg>
        <pc:graphicFrameChg chg="mod">
          <ac:chgData name="van Leeuwen  Sara (VPPL)" userId="7a5f1df4-0dd0-4c9e-a72f-a035cf318af6" providerId="ADAL" clId="{7F83441C-FBEE-4352-925F-0745A21765C9}" dt="2023-09-14T12:48:38.007" v="1181"/>
          <ac:graphicFrameMkLst>
            <pc:docMk/>
            <pc:sldMk cId="1257036896" sldId="2421"/>
            <ac:graphicFrameMk id="3" creationId="{5755A7B0-3099-8ED9-DD67-7FDA65BEA332}"/>
          </ac:graphicFrameMkLst>
        </pc:graphicFrameChg>
      </pc:sldChg>
      <pc:sldChg chg="delSp modSp mod ord">
        <pc:chgData name="van Leeuwen  Sara (VPPL)" userId="7a5f1df4-0dd0-4c9e-a72f-a035cf318af6" providerId="ADAL" clId="{7F83441C-FBEE-4352-925F-0745A21765C9}" dt="2023-09-14T16:50:57.846" v="2879" actId="478"/>
        <pc:sldMkLst>
          <pc:docMk/>
          <pc:sldMk cId="2330390072" sldId="2422"/>
        </pc:sldMkLst>
        <pc:spChg chg="del mod">
          <ac:chgData name="van Leeuwen  Sara (VPPL)" userId="7a5f1df4-0dd0-4c9e-a72f-a035cf318af6" providerId="ADAL" clId="{7F83441C-FBEE-4352-925F-0745A21765C9}" dt="2023-09-14T16:50:57.846" v="2879" actId="478"/>
          <ac:spMkLst>
            <pc:docMk/>
            <pc:sldMk cId="2330390072" sldId="2422"/>
            <ac:spMk id="5" creationId="{EBDA3653-59C1-457A-8CE9-DCA3D1F4516D}"/>
          </ac:spMkLst>
        </pc:spChg>
      </pc:sldChg>
      <pc:sldChg chg="del">
        <pc:chgData name="van Leeuwen  Sara (VPPL)" userId="7a5f1df4-0dd0-4c9e-a72f-a035cf318af6" providerId="ADAL" clId="{7F83441C-FBEE-4352-925F-0745A21765C9}" dt="2023-09-14T12:19:28.808" v="607" actId="47"/>
        <pc:sldMkLst>
          <pc:docMk/>
          <pc:sldMk cId="1207426020" sldId="2424"/>
        </pc:sldMkLst>
      </pc:sldChg>
      <pc:sldChg chg="del">
        <pc:chgData name="van Leeuwen  Sara (VPPL)" userId="7a5f1df4-0dd0-4c9e-a72f-a035cf318af6" providerId="ADAL" clId="{7F83441C-FBEE-4352-925F-0745A21765C9}" dt="2023-09-14T12:43:03.899" v="865" actId="47"/>
        <pc:sldMkLst>
          <pc:docMk/>
          <pc:sldMk cId="189437998" sldId="2425"/>
        </pc:sldMkLst>
      </pc:sldChg>
      <pc:sldChg chg="del">
        <pc:chgData name="van Leeuwen  Sara (VPPL)" userId="7a5f1df4-0dd0-4c9e-a72f-a035cf318af6" providerId="ADAL" clId="{7F83441C-FBEE-4352-925F-0745A21765C9}" dt="2023-09-14T12:43:08.336" v="866" actId="47"/>
        <pc:sldMkLst>
          <pc:docMk/>
          <pc:sldMk cId="4241163796" sldId="2426"/>
        </pc:sldMkLst>
      </pc:sldChg>
      <pc:sldChg chg="addSp modSp mod">
        <pc:chgData name="van Leeuwen  Sara (VPPL)" userId="7a5f1df4-0dd0-4c9e-a72f-a035cf318af6" providerId="ADAL" clId="{7F83441C-FBEE-4352-925F-0745A21765C9}" dt="2023-09-14T16:52:10.710" v="2888"/>
        <pc:sldMkLst>
          <pc:docMk/>
          <pc:sldMk cId="3512549865" sldId="2427"/>
        </pc:sldMkLst>
        <pc:spChg chg="add mod">
          <ac:chgData name="van Leeuwen  Sara (VPPL)" userId="7a5f1df4-0dd0-4c9e-a72f-a035cf318af6" providerId="ADAL" clId="{7F83441C-FBEE-4352-925F-0745A21765C9}" dt="2023-09-14T12:01:25.477" v="237" actId="108"/>
          <ac:spMkLst>
            <pc:docMk/>
            <pc:sldMk cId="3512549865" sldId="2427"/>
            <ac:spMk id="7" creationId="{571C5360-E19F-39FB-D866-E8AD9E9A43CA}"/>
          </ac:spMkLst>
        </pc:spChg>
        <pc:spChg chg="mod">
          <ac:chgData name="van Leeuwen  Sara (VPPL)" userId="7a5f1df4-0dd0-4c9e-a72f-a035cf318af6" providerId="ADAL" clId="{7F83441C-FBEE-4352-925F-0745A21765C9}" dt="2023-09-14T16:52:10.710" v="2888"/>
          <ac:spMkLst>
            <pc:docMk/>
            <pc:sldMk cId="3512549865" sldId="2427"/>
            <ac:spMk id="8" creationId="{D75AFB06-C0D5-C44A-AFA0-9276A7192873}"/>
          </ac:spMkLst>
        </pc:spChg>
      </pc:sldChg>
      <pc:sldChg chg="modSp mod">
        <pc:chgData name="van Leeuwen  Sara (VPPL)" userId="7a5f1df4-0dd0-4c9e-a72f-a035cf318af6" providerId="ADAL" clId="{7F83441C-FBEE-4352-925F-0745A21765C9}" dt="2023-09-14T17:21:47.759" v="3098" actId="14100"/>
        <pc:sldMkLst>
          <pc:docMk/>
          <pc:sldMk cId="689743388" sldId="2428"/>
        </pc:sldMkLst>
        <pc:spChg chg="mod">
          <ac:chgData name="van Leeuwen  Sara (VPPL)" userId="7a5f1df4-0dd0-4c9e-a72f-a035cf318af6" providerId="ADAL" clId="{7F83441C-FBEE-4352-925F-0745A21765C9}" dt="2023-09-14T11:55:06.526" v="57" actId="1076"/>
          <ac:spMkLst>
            <pc:docMk/>
            <pc:sldMk cId="689743388" sldId="2428"/>
            <ac:spMk id="5" creationId="{FFE3D09D-A5EF-4DB0-8BAE-BBD2BA7E76E2}"/>
          </ac:spMkLst>
        </pc:spChg>
        <pc:spChg chg="mod">
          <ac:chgData name="van Leeuwen  Sara (VPPL)" userId="7a5f1df4-0dd0-4c9e-a72f-a035cf318af6" providerId="ADAL" clId="{7F83441C-FBEE-4352-925F-0745A21765C9}" dt="2023-09-14T17:21:47.759" v="3098" actId="14100"/>
          <ac:spMkLst>
            <pc:docMk/>
            <pc:sldMk cId="689743388" sldId="2428"/>
            <ac:spMk id="8" creationId="{AC1FB292-90C1-439C-8480-EB4116CF2374}"/>
          </ac:spMkLst>
        </pc:spChg>
      </pc:sldChg>
      <pc:sldChg chg="del">
        <pc:chgData name="van Leeuwen  Sara (VPPL)" userId="7a5f1df4-0dd0-4c9e-a72f-a035cf318af6" providerId="ADAL" clId="{7F83441C-FBEE-4352-925F-0745A21765C9}" dt="2023-09-14T12:40:01.792" v="851" actId="47"/>
        <pc:sldMkLst>
          <pc:docMk/>
          <pc:sldMk cId="1485981783" sldId="2429"/>
        </pc:sldMkLst>
      </pc:sldChg>
      <pc:sldChg chg="del">
        <pc:chgData name="van Leeuwen  Sara (VPPL)" userId="7a5f1df4-0dd0-4c9e-a72f-a035cf318af6" providerId="ADAL" clId="{7F83441C-FBEE-4352-925F-0745A21765C9}" dt="2023-09-14T12:40:41.278" v="856" actId="47"/>
        <pc:sldMkLst>
          <pc:docMk/>
          <pc:sldMk cId="3740190813" sldId="2430"/>
        </pc:sldMkLst>
      </pc:sldChg>
      <pc:sldChg chg="addSp delSp modSp mod">
        <pc:chgData name="van Leeuwen  Sara (VPPL)" userId="7a5f1df4-0dd0-4c9e-a72f-a035cf318af6" providerId="ADAL" clId="{7F83441C-FBEE-4352-925F-0745A21765C9}" dt="2023-09-14T17:20:39.568" v="3061" actId="20577"/>
        <pc:sldMkLst>
          <pc:docMk/>
          <pc:sldMk cId="1289117044" sldId="2431"/>
        </pc:sldMkLst>
        <pc:spChg chg="mod">
          <ac:chgData name="van Leeuwen  Sara (VPPL)" userId="7a5f1df4-0dd0-4c9e-a72f-a035cf318af6" providerId="ADAL" clId="{7F83441C-FBEE-4352-925F-0745A21765C9}" dt="2023-09-14T16:52:28.916" v="2890"/>
          <ac:spMkLst>
            <pc:docMk/>
            <pc:sldMk cId="1289117044" sldId="2431"/>
            <ac:spMk id="5" creationId="{0E142C1F-9344-4A89-B6B0-A96D514A3583}"/>
          </ac:spMkLst>
        </pc:spChg>
        <pc:spChg chg="add del mod">
          <ac:chgData name="van Leeuwen  Sara (VPPL)" userId="7a5f1df4-0dd0-4c9e-a72f-a035cf318af6" providerId="ADAL" clId="{7F83441C-FBEE-4352-925F-0745A21765C9}" dt="2023-09-14T12:00:09.198" v="210" actId="478"/>
          <ac:spMkLst>
            <pc:docMk/>
            <pc:sldMk cId="1289117044" sldId="2431"/>
            <ac:spMk id="11" creationId="{B1F66B07-2C19-D55B-31D6-A40AD3FA2E71}"/>
          </ac:spMkLst>
        </pc:spChg>
        <pc:spChg chg="add mod">
          <ac:chgData name="van Leeuwen  Sara (VPPL)" userId="7a5f1df4-0dd0-4c9e-a72f-a035cf318af6" providerId="ADAL" clId="{7F83441C-FBEE-4352-925F-0745A21765C9}" dt="2023-09-14T17:20:39.568" v="3061" actId="20577"/>
          <ac:spMkLst>
            <pc:docMk/>
            <pc:sldMk cId="1289117044" sldId="2431"/>
            <ac:spMk id="12" creationId="{539F782F-4938-FF04-B90B-8FA18B828B29}"/>
          </ac:spMkLst>
        </pc:spChg>
        <pc:spChg chg="add del mod">
          <ac:chgData name="van Leeuwen  Sara (VPPL)" userId="7a5f1df4-0dd0-4c9e-a72f-a035cf318af6" providerId="ADAL" clId="{7F83441C-FBEE-4352-925F-0745A21765C9}" dt="2023-09-14T16:47:49.948" v="2847"/>
          <ac:spMkLst>
            <pc:docMk/>
            <pc:sldMk cId="1289117044" sldId="2431"/>
            <ac:spMk id="14" creationId="{7D63CDAA-B4B2-C067-7D2C-71AA31130C47}"/>
          </ac:spMkLst>
        </pc:spChg>
        <pc:spChg chg="add del mod">
          <ac:chgData name="van Leeuwen  Sara (VPPL)" userId="7a5f1df4-0dd0-4c9e-a72f-a035cf318af6" providerId="ADAL" clId="{7F83441C-FBEE-4352-925F-0745A21765C9}" dt="2023-09-14T16:47:54.622" v="2849"/>
          <ac:spMkLst>
            <pc:docMk/>
            <pc:sldMk cId="1289117044" sldId="2431"/>
            <ac:spMk id="15" creationId="{970D528C-72E6-9EE3-8502-E4F0AE6D2E64}"/>
          </ac:spMkLst>
        </pc:spChg>
      </pc:sldChg>
      <pc:sldChg chg="del">
        <pc:chgData name="van Leeuwen  Sara (VPPL)" userId="7a5f1df4-0dd0-4c9e-a72f-a035cf318af6" providerId="ADAL" clId="{7F83441C-FBEE-4352-925F-0745A21765C9}" dt="2023-09-14T12:12:57.334" v="369" actId="47"/>
        <pc:sldMkLst>
          <pc:docMk/>
          <pc:sldMk cId="1372008763" sldId="2433"/>
        </pc:sldMkLst>
      </pc:sldChg>
      <pc:sldChg chg="addSp modSp mod">
        <pc:chgData name="van Leeuwen  Sara (VPPL)" userId="7a5f1df4-0dd0-4c9e-a72f-a035cf318af6" providerId="ADAL" clId="{7F83441C-FBEE-4352-925F-0745A21765C9}" dt="2023-09-14T18:15:38.934" v="6961"/>
        <pc:sldMkLst>
          <pc:docMk/>
          <pc:sldMk cId="4240256703" sldId="2434"/>
        </pc:sldMkLst>
        <pc:spChg chg="mod">
          <ac:chgData name="van Leeuwen  Sara (VPPL)" userId="7a5f1df4-0dd0-4c9e-a72f-a035cf318af6" providerId="ADAL" clId="{7F83441C-FBEE-4352-925F-0745A21765C9}" dt="2023-09-14T16:49:46.242" v="2864"/>
          <ac:spMkLst>
            <pc:docMk/>
            <pc:sldMk cId="4240256703" sldId="2434"/>
            <ac:spMk id="5" creationId="{85D9BC9D-3DA7-45F6-B926-A87C277DD9F8}"/>
          </ac:spMkLst>
        </pc:spChg>
        <pc:spChg chg="add mod">
          <ac:chgData name="van Leeuwen  Sara (VPPL)" userId="7a5f1df4-0dd0-4c9e-a72f-a035cf318af6" providerId="ADAL" clId="{7F83441C-FBEE-4352-925F-0745A21765C9}" dt="2023-09-14T18:15:38.934" v="6961"/>
          <ac:spMkLst>
            <pc:docMk/>
            <pc:sldMk cId="4240256703" sldId="2434"/>
            <ac:spMk id="11" creationId="{DC6803D6-68BC-AB6B-C96F-B47E5E1B0245}"/>
          </ac:spMkLst>
        </pc:spChg>
      </pc:sldChg>
      <pc:sldChg chg="modSp add mod">
        <pc:chgData name="van Leeuwen  Sara (VPPL)" userId="7a5f1df4-0dd0-4c9e-a72f-a035cf318af6" providerId="ADAL" clId="{7F83441C-FBEE-4352-925F-0745A21765C9}" dt="2023-09-14T16:50:45.349" v="2876"/>
        <pc:sldMkLst>
          <pc:docMk/>
          <pc:sldMk cId="366332666" sldId="2435"/>
        </pc:sldMkLst>
        <pc:spChg chg="mod">
          <ac:chgData name="van Leeuwen  Sara (VPPL)" userId="7a5f1df4-0dd0-4c9e-a72f-a035cf318af6" providerId="ADAL" clId="{7F83441C-FBEE-4352-925F-0745A21765C9}" dt="2023-09-14T16:50:45.349" v="2876"/>
          <ac:spMkLst>
            <pc:docMk/>
            <pc:sldMk cId="366332666" sldId="2435"/>
            <ac:spMk id="8" creationId="{D75AFB06-C0D5-C44A-AFA0-9276A7192873}"/>
          </ac:spMkLst>
        </pc:spChg>
        <pc:graphicFrameChg chg="modGraphic">
          <ac:chgData name="van Leeuwen  Sara (VPPL)" userId="7a5f1df4-0dd0-4c9e-a72f-a035cf318af6" providerId="ADAL" clId="{7F83441C-FBEE-4352-925F-0745A21765C9}" dt="2023-09-14T12:40:24.191" v="854" actId="207"/>
          <ac:graphicFrameMkLst>
            <pc:docMk/>
            <pc:sldMk cId="366332666" sldId="2435"/>
            <ac:graphicFrameMk id="10" creationId="{9B7E8B9D-5F9A-4F11-B14F-FECAB6CF2579}"/>
          </ac:graphicFrameMkLst>
        </pc:graphicFrameChg>
      </pc:sldChg>
      <pc:sldChg chg="addSp delSp modSp add del mod">
        <pc:chgData name="van Leeuwen  Sara (VPPL)" userId="7a5f1df4-0dd0-4c9e-a72f-a035cf318af6" providerId="ADAL" clId="{7F83441C-FBEE-4352-925F-0745A21765C9}" dt="2023-09-14T17:35:47.553" v="3949" actId="47"/>
        <pc:sldMkLst>
          <pc:docMk/>
          <pc:sldMk cId="2507850484" sldId="2436"/>
        </pc:sldMkLst>
        <pc:spChg chg="mod">
          <ac:chgData name="van Leeuwen  Sara (VPPL)" userId="7a5f1df4-0dd0-4c9e-a72f-a035cf318af6" providerId="ADAL" clId="{7F83441C-FBEE-4352-925F-0745A21765C9}" dt="2023-09-14T17:33:07.593" v="3832" actId="948"/>
          <ac:spMkLst>
            <pc:docMk/>
            <pc:sldMk cId="2507850484" sldId="2436"/>
            <ac:spMk id="2" creationId="{00000000-0000-0000-0000-000000000000}"/>
          </ac:spMkLst>
        </pc:spChg>
        <pc:spChg chg="add del mod modVis">
          <ac:chgData name="van Leeuwen  Sara (VPPL)" userId="7a5f1df4-0dd0-4c9e-a72f-a035cf318af6" providerId="ADAL" clId="{7F83441C-FBEE-4352-925F-0745A21765C9}" dt="2023-09-14T13:01:16.956" v="1739"/>
          <ac:spMkLst>
            <pc:docMk/>
            <pc:sldMk cId="2507850484" sldId="2436"/>
            <ac:spMk id="3" creationId="{FD1BE994-0160-4115-2274-89618E42997F}"/>
          </ac:spMkLst>
        </pc:spChg>
        <pc:spChg chg="add del mod modVis">
          <ac:chgData name="van Leeuwen  Sara (VPPL)" userId="7a5f1df4-0dd0-4c9e-a72f-a035cf318af6" providerId="ADAL" clId="{7F83441C-FBEE-4352-925F-0745A21765C9}" dt="2023-09-14T13:01:19.701" v="1786"/>
          <ac:spMkLst>
            <pc:docMk/>
            <pc:sldMk cId="2507850484" sldId="2436"/>
            <ac:spMk id="7" creationId="{400EDB6A-7904-92FF-E8FB-F69150610A74}"/>
          </ac:spMkLst>
        </pc:spChg>
        <pc:spChg chg="add del mod modVis">
          <ac:chgData name="van Leeuwen  Sara (VPPL)" userId="7a5f1df4-0dd0-4c9e-a72f-a035cf318af6" providerId="ADAL" clId="{7F83441C-FBEE-4352-925F-0745A21765C9}" dt="2023-09-14T13:01:21.216" v="1852"/>
          <ac:spMkLst>
            <pc:docMk/>
            <pc:sldMk cId="2507850484" sldId="2436"/>
            <ac:spMk id="8" creationId="{71FDE6A2-7411-B727-533A-60E3160F9085}"/>
          </ac:spMkLst>
        </pc:spChg>
        <pc:spChg chg="mod">
          <ac:chgData name="van Leeuwen  Sara (VPPL)" userId="7a5f1df4-0dd0-4c9e-a72f-a035cf318af6" providerId="ADAL" clId="{7F83441C-FBEE-4352-925F-0745A21765C9}" dt="2023-09-14T17:32:34.825" v="3642" actId="20577"/>
          <ac:spMkLst>
            <pc:docMk/>
            <pc:sldMk cId="2507850484" sldId="2436"/>
            <ac:spMk id="10" creationId="{00000000-0000-0000-0000-000000000000}"/>
          </ac:spMkLst>
        </pc:spChg>
        <pc:spChg chg="add del mod modVis">
          <ac:chgData name="van Leeuwen  Sara (VPPL)" userId="7a5f1df4-0dd0-4c9e-a72f-a035cf318af6" providerId="ADAL" clId="{7F83441C-FBEE-4352-925F-0745A21765C9}" dt="2023-09-14T13:01:22.565" v="1916"/>
          <ac:spMkLst>
            <pc:docMk/>
            <pc:sldMk cId="2507850484" sldId="2436"/>
            <ac:spMk id="11" creationId="{B8B908CC-D5EC-4189-9C07-7217809033BB}"/>
          </ac:spMkLst>
        </pc:spChg>
        <pc:spChg chg="mod">
          <ac:chgData name="van Leeuwen  Sara (VPPL)" userId="7a5f1df4-0dd0-4c9e-a72f-a035cf318af6" providerId="ADAL" clId="{7F83441C-FBEE-4352-925F-0745A21765C9}" dt="2023-09-14T16:50:48.710" v="2877"/>
          <ac:spMkLst>
            <pc:docMk/>
            <pc:sldMk cId="2507850484" sldId="2436"/>
            <ac:spMk id="12" creationId="{D75AFB06-C0D5-C44A-AFA0-9276A7192873}"/>
          </ac:spMkLst>
        </pc:spChg>
        <pc:spChg chg="add del mod modVis">
          <ac:chgData name="van Leeuwen  Sara (VPPL)" userId="7a5f1df4-0dd0-4c9e-a72f-a035cf318af6" providerId="ADAL" clId="{7F83441C-FBEE-4352-925F-0745A21765C9}" dt="2023-09-14T13:01:23.998" v="1981"/>
          <ac:spMkLst>
            <pc:docMk/>
            <pc:sldMk cId="2507850484" sldId="2436"/>
            <ac:spMk id="13" creationId="{0DCFF36A-7470-8475-1FAE-C71FD10FB239}"/>
          </ac:spMkLst>
        </pc:spChg>
        <pc:spChg chg="add del mod modVis">
          <ac:chgData name="van Leeuwen  Sara (VPPL)" userId="7a5f1df4-0dd0-4c9e-a72f-a035cf318af6" providerId="ADAL" clId="{7F83441C-FBEE-4352-925F-0745A21765C9}" dt="2023-09-14T17:33:07.656" v="3888"/>
          <ac:spMkLst>
            <pc:docMk/>
            <pc:sldMk cId="2507850484" sldId="2436"/>
            <ac:spMk id="14" creationId="{26AB24D1-0A85-9241-5283-5E3971F5A7A3}"/>
          </ac:spMkLst>
        </pc:spChg>
        <pc:graphicFrameChg chg="mod">
          <ac:chgData name="van Leeuwen  Sara (VPPL)" userId="7a5f1df4-0dd0-4c9e-a72f-a035cf318af6" providerId="ADAL" clId="{7F83441C-FBEE-4352-925F-0745A21765C9}" dt="2023-09-14T17:33:07.656" v="3890"/>
          <ac:graphicFrameMkLst>
            <pc:docMk/>
            <pc:sldMk cId="2507850484" sldId="2436"/>
            <ac:graphicFrameMk id="5" creationId="{6CD3BF2A-4B05-1D82-BE24-6EDADE277B81}"/>
          </ac:graphicFrameMkLst>
        </pc:graphicFrameChg>
      </pc:sldChg>
      <pc:sldChg chg="addSp delSp modSp add mod ord">
        <pc:chgData name="van Leeuwen  Sara (VPPL)" userId="7a5f1df4-0dd0-4c9e-a72f-a035cf318af6" providerId="ADAL" clId="{7F83441C-FBEE-4352-925F-0745A21765C9}" dt="2023-09-14T18:12:30.454" v="6960" actId="1076"/>
        <pc:sldMkLst>
          <pc:docMk/>
          <pc:sldMk cId="115161503" sldId="2437"/>
        </pc:sldMkLst>
        <pc:spChg chg="mod">
          <ac:chgData name="van Leeuwen  Sara (VPPL)" userId="7a5f1df4-0dd0-4c9e-a72f-a035cf318af6" providerId="ADAL" clId="{7F83441C-FBEE-4352-925F-0745A21765C9}" dt="2023-09-14T13:25:51.240" v="2270" actId="948"/>
          <ac:spMkLst>
            <pc:docMk/>
            <pc:sldMk cId="115161503" sldId="2437"/>
            <ac:spMk id="2" creationId="{00000000-0000-0000-0000-000000000000}"/>
          </ac:spMkLst>
        </pc:spChg>
        <pc:spChg chg="add del mod modVis">
          <ac:chgData name="van Leeuwen  Sara (VPPL)" userId="7a5f1df4-0dd0-4c9e-a72f-a035cf318af6" providerId="ADAL" clId="{7F83441C-FBEE-4352-925F-0745A21765C9}" dt="2023-09-14T13:25:44.189" v="2180"/>
          <ac:spMkLst>
            <pc:docMk/>
            <pc:sldMk cId="115161503" sldId="2437"/>
            <ac:spMk id="3" creationId="{35163DA1-1F09-B988-31B2-04DAB1EDB8B4}"/>
          </ac:spMkLst>
        </pc:spChg>
        <pc:spChg chg="add del mod modVis">
          <ac:chgData name="van Leeuwen  Sara (VPPL)" userId="7a5f1df4-0dd0-4c9e-a72f-a035cf318af6" providerId="ADAL" clId="{7F83441C-FBEE-4352-925F-0745A21765C9}" dt="2023-09-14T13:25:49.822" v="2261"/>
          <ac:spMkLst>
            <pc:docMk/>
            <pc:sldMk cId="115161503" sldId="2437"/>
            <ac:spMk id="7" creationId="{459633DE-8258-6A10-3A4E-29095729F369}"/>
          </ac:spMkLst>
        </pc:spChg>
        <pc:spChg chg="add del mod modVis">
          <ac:chgData name="van Leeuwen  Sara (VPPL)" userId="7a5f1df4-0dd0-4c9e-a72f-a035cf318af6" providerId="ADAL" clId="{7F83441C-FBEE-4352-925F-0745A21765C9}" dt="2023-09-14T13:25:51.287" v="2326"/>
          <ac:spMkLst>
            <pc:docMk/>
            <pc:sldMk cId="115161503" sldId="2437"/>
            <ac:spMk id="8" creationId="{906262F7-ED16-D6D4-45C9-F39C93CB1829}"/>
          </ac:spMkLst>
        </pc:spChg>
        <pc:spChg chg="mod">
          <ac:chgData name="van Leeuwen  Sara (VPPL)" userId="7a5f1df4-0dd0-4c9e-a72f-a035cf318af6" providerId="ADAL" clId="{7F83441C-FBEE-4352-925F-0745A21765C9}" dt="2023-09-14T18:11:49.442" v="6910" actId="20577"/>
          <ac:spMkLst>
            <pc:docMk/>
            <pc:sldMk cId="115161503" sldId="2437"/>
            <ac:spMk id="10" creationId="{00000000-0000-0000-0000-000000000000}"/>
          </ac:spMkLst>
        </pc:spChg>
        <pc:spChg chg="mod">
          <ac:chgData name="van Leeuwen  Sara (VPPL)" userId="7a5f1df4-0dd0-4c9e-a72f-a035cf318af6" providerId="ADAL" clId="{7F83441C-FBEE-4352-925F-0745A21765C9}" dt="2023-09-14T16:46:56.987" v="2840"/>
          <ac:spMkLst>
            <pc:docMk/>
            <pc:sldMk cId="115161503" sldId="2437"/>
            <ac:spMk id="12" creationId="{D75AFB06-C0D5-C44A-AFA0-9276A7192873}"/>
          </ac:spMkLst>
        </pc:spChg>
        <pc:spChg chg="add mod">
          <ac:chgData name="van Leeuwen  Sara (VPPL)" userId="7a5f1df4-0dd0-4c9e-a72f-a035cf318af6" providerId="ADAL" clId="{7F83441C-FBEE-4352-925F-0745A21765C9}" dt="2023-09-14T18:12:16.560" v="6939" actId="20577"/>
          <ac:spMkLst>
            <pc:docMk/>
            <pc:sldMk cId="115161503" sldId="2437"/>
            <ac:spMk id="13" creationId="{395FE564-E77A-A062-6DE1-DDA7459467A2}"/>
          </ac:spMkLst>
        </pc:spChg>
        <pc:spChg chg="add mod">
          <ac:chgData name="van Leeuwen  Sara (VPPL)" userId="7a5f1df4-0dd0-4c9e-a72f-a035cf318af6" providerId="ADAL" clId="{7F83441C-FBEE-4352-925F-0745A21765C9}" dt="2023-09-14T18:12:08.166" v="6935" actId="20577"/>
          <ac:spMkLst>
            <pc:docMk/>
            <pc:sldMk cId="115161503" sldId="2437"/>
            <ac:spMk id="14" creationId="{7528A58F-D640-34E7-6DA4-5A6CA1D82E0E}"/>
          </ac:spMkLst>
        </pc:spChg>
        <pc:spChg chg="del">
          <ac:chgData name="van Leeuwen  Sara (VPPL)" userId="7a5f1df4-0dd0-4c9e-a72f-a035cf318af6" providerId="ADAL" clId="{7F83441C-FBEE-4352-925F-0745A21765C9}" dt="2023-09-14T18:00:06.938" v="5886" actId="478"/>
          <ac:spMkLst>
            <pc:docMk/>
            <pc:sldMk cId="115161503" sldId="2437"/>
            <ac:spMk id="19" creationId="{A0AA57D8-6525-B82E-1C62-1D086A2C61F0}"/>
          </ac:spMkLst>
        </pc:spChg>
        <pc:spChg chg="del">
          <ac:chgData name="van Leeuwen  Sara (VPPL)" userId="7a5f1df4-0dd0-4c9e-a72f-a035cf318af6" providerId="ADAL" clId="{7F83441C-FBEE-4352-925F-0745A21765C9}" dt="2023-09-14T18:00:02.929" v="5885" actId="478"/>
          <ac:spMkLst>
            <pc:docMk/>
            <pc:sldMk cId="115161503" sldId="2437"/>
            <ac:spMk id="20" creationId="{CF7B0E3C-915D-6129-4612-FFB31E8E9DE1}"/>
          </ac:spMkLst>
        </pc:spChg>
        <pc:spChg chg="del">
          <ac:chgData name="van Leeuwen  Sara (VPPL)" userId="7a5f1df4-0dd0-4c9e-a72f-a035cf318af6" providerId="ADAL" clId="{7F83441C-FBEE-4352-925F-0745A21765C9}" dt="2023-09-14T18:00:09.404" v="5887" actId="478"/>
          <ac:spMkLst>
            <pc:docMk/>
            <pc:sldMk cId="115161503" sldId="2437"/>
            <ac:spMk id="24" creationId="{75D38813-0E3F-5E16-F430-0CD6F710989C}"/>
          </ac:spMkLst>
        </pc:spChg>
        <pc:graphicFrameChg chg="mod">
          <ac:chgData name="van Leeuwen  Sara (VPPL)" userId="7a5f1df4-0dd0-4c9e-a72f-a035cf318af6" providerId="ADAL" clId="{7F83441C-FBEE-4352-925F-0745A21765C9}" dt="2023-09-14T13:25:51.287" v="2328"/>
          <ac:graphicFrameMkLst>
            <pc:docMk/>
            <pc:sldMk cId="115161503" sldId="2437"/>
            <ac:graphicFrameMk id="5" creationId="{6CD3BF2A-4B05-1D82-BE24-6EDADE277B81}"/>
          </ac:graphicFrameMkLst>
        </pc:graphicFrameChg>
        <pc:picChg chg="add mod">
          <ac:chgData name="van Leeuwen  Sara (VPPL)" userId="7a5f1df4-0dd0-4c9e-a72f-a035cf318af6" providerId="ADAL" clId="{7F83441C-FBEE-4352-925F-0745A21765C9}" dt="2023-09-14T18:12:30.454" v="6960" actId="1076"/>
          <ac:picMkLst>
            <pc:docMk/>
            <pc:sldMk cId="115161503" sldId="2437"/>
            <ac:picMk id="11" creationId="{ED7C954A-CDCB-8D6B-BD20-C0E69F383502}"/>
          </ac:picMkLst>
        </pc:picChg>
        <pc:picChg chg="mod">
          <ac:chgData name="van Leeuwen  Sara (VPPL)" userId="7a5f1df4-0dd0-4c9e-a72f-a035cf318af6" providerId="ADAL" clId="{7F83441C-FBEE-4352-925F-0745A21765C9}" dt="2023-09-14T18:12:30.454" v="6960" actId="1076"/>
          <ac:picMkLst>
            <pc:docMk/>
            <pc:sldMk cId="115161503" sldId="2437"/>
            <ac:picMk id="26" creationId="{31E44439-1382-DDF9-F549-7C738C45232B}"/>
          </ac:picMkLst>
        </pc:picChg>
      </pc:sldChg>
      <pc:sldChg chg="modSp add mod">
        <pc:chgData name="van Leeuwen  Sara (VPPL)" userId="7a5f1df4-0dd0-4c9e-a72f-a035cf318af6" providerId="ADAL" clId="{7F83441C-FBEE-4352-925F-0745A21765C9}" dt="2023-09-14T16:51:01.190" v="2880"/>
        <pc:sldMkLst>
          <pc:docMk/>
          <pc:sldMk cId="2093043053" sldId="2438"/>
        </pc:sldMkLst>
        <pc:spChg chg="mod">
          <ac:chgData name="van Leeuwen  Sara (VPPL)" userId="7a5f1df4-0dd0-4c9e-a72f-a035cf318af6" providerId="ADAL" clId="{7F83441C-FBEE-4352-925F-0745A21765C9}" dt="2023-09-14T16:51:01.190" v="2880"/>
          <ac:spMkLst>
            <pc:docMk/>
            <pc:sldMk cId="2093043053" sldId="2438"/>
            <ac:spMk id="8" creationId="{D75AFB06-C0D5-C44A-AFA0-9276A7192873}"/>
          </ac:spMkLst>
        </pc:spChg>
        <pc:graphicFrameChg chg="modGraphic">
          <ac:chgData name="van Leeuwen  Sara (VPPL)" userId="7a5f1df4-0dd0-4c9e-a72f-a035cf318af6" providerId="ADAL" clId="{7F83441C-FBEE-4352-925F-0745A21765C9}" dt="2023-09-14T13:28:28.218" v="2351" actId="207"/>
          <ac:graphicFrameMkLst>
            <pc:docMk/>
            <pc:sldMk cId="2093043053" sldId="2438"/>
            <ac:graphicFrameMk id="10" creationId="{9B7E8B9D-5F9A-4F11-B14F-FECAB6CF2579}"/>
          </ac:graphicFrameMkLst>
        </pc:graphicFrameChg>
      </pc:sldChg>
      <pc:sldChg chg="modSp add mod">
        <pc:chgData name="van Leeuwen  Sara (VPPL)" userId="7a5f1df4-0dd0-4c9e-a72f-a035cf318af6" providerId="ADAL" clId="{7F83441C-FBEE-4352-925F-0745A21765C9}" dt="2023-09-14T16:46:52.883" v="2839"/>
        <pc:sldMkLst>
          <pc:docMk/>
          <pc:sldMk cId="2894523313" sldId="2439"/>
        </pc:sldMkLst>
        <pc:spChg chg="mod">
          <ac:chgData name="van Leeuwen  Sara (VPPL)" userId="7a5f1df4-0dd0-4c9e-a72f-a035cf318af6" providerId="ADAL" clId="{7F83441C-FBEE-4352-925F-0745A21765C9}" dt="2023-09-14T16:46:52.883" v="2839"/>
          <ac:spMkLst>
            <pc:docMk/>
            <pc:sldMk cId="2894523313" sldId="2439"/>
            <ac:spMk id="8" creationId="{D75AFB06-C0D5-C44A-AFA0-9276A7192873}"/>
          </ac:spMkLst>
        </pc:spChg>
        <pc:graphicFrameChg chg="modGraphic">
          <ac:chgData name="van Leeuwen  Sara (VPPL)" userId="7a5f1df4-0dd0-4c9e-a72f-a035cf318af6" providerId="ADAL" clId="{7F83441C-FBEE-4352-925F-0745A21765C9}" dt="2023-09-14T13:28:36.570" v="2353" actId="207"/>
          <ac:graphicFrameMkLst>
            <pc:docMk/>
            <pc:sldMk cId="2894523313" sldId="2439"/>
            <ac:graphicFrameMk id="10" creationId="{9B7E8B9D-5F9A-4F11-B14F-FECAB6CF2579}"/>
          </ac:graphicFrameMkLst>
        </pc:graphicFrameChg>
      </pc:sldChg>
      <pc:sldChg chg="addSp delSp modSp add mod">
        <pc:chgData name="van Leeuwen  Sara (VPPL)" userId="7a5f1df4-0dd0-4c9e-a72f-a035cf318af6" providerId="ADAL" clId="{7F83441C-FBEE-4352-925F-0745A21765C9}" dt="2023-09-14T18:27:35.981" v="6990" actId="478"/>
        <pc:sldMkLst>
          <pc:docMk/>
          <pc:sldMk cId="1561310458" sldId="2440"/>
        </pc:sldMkLst>
        <pc:spChg chg="add mod">
          <ac:chgData name="van Leeuwen  Sara (VPPL)" userId="7a5f1df4-0dd0-4c9e-a72f-a035cf318af6" providerId="ADAL" clId="{7F83441C-FBEE-4352-925F-0745A21765C9}" dt="2023-09-14T13:50:06.817" v="2829"/>
          <ac:spMkLst>
            <pc:docMk/>
            <pc:sldMk cId="1561310458" sldId="2440"/>
            <ac:spMk id="3" creationId="{A9C9259E-73FE-8D02-F77A-9B75A3A8C1C0}"/>
          </ac:spMkLst>
        </pc:spChg>
        <pc:spChg chg="mod">
          <ac:chgData name="van Leeuwen  Sara (VPPL)" userId="7a5f1df4-0dd0-4c9e-a72f-a035cf318af6" providerId="ADAL" clId="{7F83441C-FBEE-4352-925F-0745A21765C9}" dt="2023-09-14T16:49:53.822" v="2866"/>
          <ac:spMkLst>
            <pc:docMk/>
            <pc:sldMk cId="1561310458" sldId="2440"/>
            <ac:spMk id="8" creationId="{D75AFB06-C0D5-C44A-AFA0-9276A7192873}"/>
          </ac:spMkLst>
        </pc:spChg>
        <pc:spChg chg="del">
          <ac:chgData name="van Leeuwen  Sara (VPPL)" userId="7a5f1df4-0dd0-4c9e-a72f-a035cf318af6" providerId="ADAL" clId="{7F83441C-FBEE-4352-925F-0745A21765C9}" dt="2023-09-14T18:27:35.981" v="6990" actId="478"/>
          <ac:spMkLst>
            <pc:docMk/>
            <pc:sldMk cId="1561310458" sldId="2440"/>
            <ac:spMk id="11" creationId="{5EE19B10-BD32-4855-BF14-2D427D1BFDF4}"/>
          </ac:spMkLst>
        </pc:spChg>
      </pc:sldChg>
      <pc:sldChg chg="addSp delSp modSp add del mod">
        <pc:chgData name="van Leeuwen  Sara (VPPL)" userId="7a5f1df4-0dd0-4c9e-a72f-a035cf318af6" providerId="ADAL" clId="{7F83441C-FBEE-4352-925F-0745A21765C9}" dt="2023-09-14T17:32:32.605" v="3634"/>
        <pc:sldMkLst>
          <pc:docMk/>
          <pc:sldMk cId="98198672" sldId="2441"/>
        </pc:sldMkLst>
        <pc:spChg chg="mod">
          <ac:chgData name="van Leeuwen  Sara (VPPL)" userId="7a5f1df4-0dd0-4c9e-a72f-a035cf318af6" providerId="ADAL" clId="{7F83441C-FBEE-4352-925F-0745A21765C9}" dt="2023-09-14T17:32:32.243" v="3630" actId="20577"/>
          <ac:spMkLst>
            <pc:docMk/>
            <pc:sldMk cId="98198672" sldId="2441"/>
            <ac:spMk id="2" creationId="{00000000-0000-0000-0000-000000000000}"/>
          </ac:spMkLst>
        </pc:spChg>
        <pc:spChg chg="add del mod modVis">
          <ac:chgData name="van Leeuwen  Sara (VPPL)" userId="7a5f1df4-0dd0-4c9e-a72f-a035cf318af6" providerId="ADAL" clId="{7F83441C-FBEE-4352-925F-0745A21765C9}" dt="2023-09-14T17:32:32.243" v="3628" actId="962"/>
          <ac:spMkLst>
            <pc:docMk/>
            <pc:sldMk cId="98198672" sldId="2441"/>
            <ac:spMk id="3" creationId="{838EC7AC-82D0-7FE4-81E1-A5568BBBCCCF}"/>
          </ac:spMkLst>
        </pc:spChg>
        <pc:spChg chg="add del mod modVis">
          <ac:chgData name="van Leeuwen  Sara (VPPL)" userId="7a5f1df4-0dd0-4c9e-a72f-a035cf318af6" providerId="ADAL" clId="{7F83441C-FBEE-4352-925F-0745A21765C9}" dt="2023-09-14T17:32:31.927" v="3569" actId="962"/>
          <ac:spMkLst>
            <pc:docMk/>
            <pc:sldMk cId="98198672" sldId="2441"/>
            <ac:spMk id="7" creationId="{5C011664-1EB3-76DF-DDCD-E579545E8943}"/>
          </ac:spMkLst>
        </pc:spChg>
        <pc:spChg chg="add del mod modVis">
          <ac:chgData name="van Leeuwen  Sara (VPPL)" userId="7a5f1df4-0dd0-4c9e-a72f-a035cf318af6" providerId="ADAL" clId="{7F83441C-FBEE-4352-925F-0745A21765C9}" dt="2023-09-14T17:32:31.596" v="3510" actId="962"/>
          <ac:spMkLst>
            <pc:docMk/>
            <pc:sldMk cId="98198672" sldId="2441"/>
            <ac:spMk id="8" creationId="{CB61B298-DEB7-4C4B-C352-5A7BABE396C5}"/>
          </ac:spMkLst>
        </pc:spChg>
        <pc:graphicFrameChg chg="mod">
          <ac:chgData name="van Leeuwen  Sara (VPPL)" userId="7a5f1df4-0dd0-4c9e-a72f-a035cf318af6" providerId="ADAL" clId="{7F83441C-FBEE-4352-925F-0745A21765C9}" dt="2023-09-14T17:32:32.605" v="3634"/>
          <ac:graphicFrameMkLst>
            <pc:docMk/>
            <pc:sldMk cId="98198672" sldId="2441"/>
            <ac:graphicFrameMk id="5" creationId="{6CD3BF2A-4B05-1D82-BE24-6EDADE277B81}"/>
          </ac:graphicFrameMkLst>
        </pc:graphicFrameChg>
      </pc:sldChg>
      <pc:sldChg chg="addSp delSp modSp add del mod">
        <pc:chgData name="van Leeuwen  Sara (VPPL)" userId="7a5f1df4-0dd0-4c9e-a72f-a035cf318af6" providerId="ADAL" clId="{7F83441C-FBEE-4352-925F-0745A21765C9}" dt="2023-09-14T17:53:17.949" v="5847" actId="47"/>
        <pc:sldMkLst>
          <pc:docMk/>
          <pc:sldMk cId="4261733302" sldId="2441"/>
        </pc:sldMkLst>
        <pc:spChg chg="mod">
          <ac:chgData name="van Leeuwen  Sara (VPPL)" userId="7a5f1df4-0dd0-4c9e-a72f-a035cf318af6" providerId="ADAL" clId="{7F83441C-FBEE-4352-925F-0745A21765C9}" dt="2023-09-14T17:49:12.611" v="4863" actId="948"/>
          <ac:spMkLst>
            <pc:docMk/>
            <pc:sldMk cId="4261733302" sldId="2441"/>
            <ac:spMk id="2" creationId="{00000000-0000-0000-0000-000000000000}"/>
          </ac:spMkLst>
        </pc:spChg>
        <pc:spChg chg="add del mod modVis">
          <ac:chgData name="van Leeuwen  Sara (VPPL)" userId="7a5f1df4-0dd0-4c9e-a72f-a035cf318af6" providerId="ADAL" clId="{7F83441C-FBEE-4352-925F-0745A21765C9}" dt="2023-09-14T17:32:58.956" v="3706"/>
          <ac:spMkLst>
            <pc:docMk/>
            <pc:sldMk cId="4261733302" sldId="2441"/>
            <ac:spMk id="3" creationId="{D5B68E76-EE42-01C4-E690-1E5C60788211}"/>
          </ac:spMkLst>
        </pc:spChg>
        <pc:spChg chg="add del mod modVis">
          <ac:chgData name="van Leeuwen  Sara (VPPL)" userId="7a5f1df4-0dd0-4c9e-a72f-a035cf318af6" providerId="ADAL" clId="{7F83441C-FBEE-4352-925F-0745A21765C9}" dt="2023-09-14T17:32:59.591" v="3766"/>
          <ac:spMkLst>
            <pc:docMk/>
            <pc:sldMk cId="4261733302" sldId="2441"/>
            <ac:spMk id="7" creationId="{6EA81DD3-F963-0B9A-A7D9-C05BA61F29E5}"/>
          </ac:spMkLst>
        </pc:spChg>
        <pc:spChg chg="add del mod modVis">
          <ac:chgData name="van Leeuwen  Sara (VPPL)" userId="7a5f1df4-0dd0-4c9e-a72f-a035cf318af6" providerId="ADAL" clId="{7F83441C-FBEE-4352-925F-0745A21765C9}" dt="2023-09-14T17:33:04.551" v="3827"/>
          <ac:spMkLst>
            <pc:docMk/>
            <pc:sldMk cId="4261733302" sldId="2441"/>
            <ac:spMk id="8" creationId="{B523CE74-1AE1-043E-B4D6-54207F7281AD}"/>
          </ac:spMkLst>
        </pc:spChg>
        <pc:spChg chg="add del mod">
          <ac:chgData name="van Leeuwen  Sara (VPPL)" userId="7a5f1df4-0dd0-4c9e-a72f-a035cf318af6" providerId="ADAL" clId="{7F83441C-FBEE-4352-925F-0745A21765C9}" dt="2023-09-14T17:46:51.027" v="4332" actId="21"/>
          <ac:spMkLst>
            <pc:docMk/>
            <pc:sldMk cId="4261733302" sldId="2441"/>
            <ac:spMk id="10" creationId="{00000000-0000-0000-0000-000000000000}"/>
          </ac:spMkLst>
        </pc:spChg>
        <pc:spChg chg="del">
          <ac:chgData name="van Leeuwen  Sara (VPPL)" userId="7a5f1df4-0dd0-4c9e-a72f-a035cf318af6" providerId="ADAL" clId="{7F83441C-FBEE-4352-925F-0745A21765C9}" dt="2023-09-14T17:35:37.072" v="3947" actId="478"/>
          <ac:spMkLst>
            <pc:docMk/>
            <pc:sldMk cId="4261733302" sldId="2441"/>
            <ac:spMk id="19" creationId="{A0AA57D8-6525-B82E-1C62-1D086A2C61F0}"/>
          </ac:spMkLst>
        </pc:spChg>
        <pc:spChg chg="add del mod">
          <ac:chgData name="van Leeuwen  Sara (VPPL)" userId="7a5f1df4-0dd0-4c9e-a72f-a035cf318af6" providerId="ADAL" clId="{7F83441C-FBEE-4352-925F-0745A21765C9}" dt="2023-09-14T17:35:37.072" v="3947" actId="478"/>
          <ac:spMkLst>
            <pc:docMk/>
            <pc:sldMk cId="4261733302" sldId="2441"/>
            <ac:spMk id="20" creationId="{CF7B0E3C-915D-6129-4612-FFB31E8E9DE1}"/>
          </ac:spMkLst>
        </pc:spChg>
        <pc:spChg chg="add del mod">
          <ac:chgData name="van Leeuwen  Sara (VPPL)" userId="7a5f1df4-0dd0-4c9e-a72f-a035cf318af6" providerId="ADAL" clId="{7F83441C-FBEE-4352-925F-0745A21765C9}" dt="2023-09-14T17:46:50.113" v="4330" actId="22"/>
          <ac:spMkLst>
            <pc:docMk/>
            <pc:sldMk cId="4261733302" sldId="2441"/>
            <ac:spMk id="23" creationId="{E5C47F45-08F2-6F22-B8FF-41E8B7969F8B}"/>
          </ac:spMkLst>
        </pc:spChg>
        <pc:spChg chg="del">
          <ac:chgData name="van Leeuwen  Sara (VPPL)" userId="7a5f1df4-0dd0-4c9e-a72f-a035cf318af6" providerId="ADAL" clId="{7F83441C-FBEE-4352-925F-0745A21765C9}" dt="2023-09-14T17:35:37.072" v="3947" actId="478"/>
          <ac:spMkLst>
            <pc:docMk/>
            <pc:sldMk cId="4261733302" sldId="2441"/>
            <ac:spMk id="24" creationId="{75D38813-0E3F-5E16-F430-0CD6F710989C}"/>
          </ac:spMkLst>
        </pc:spChg>
        <pc:spChg chg="add del mod modVis">
          <ac:chgData name="van Leeuwen  Sara (VPPL)" userId="7a5f1df4-0dd0-4c9e-a72f-a035cf318af6" providerId="ADAL" clId="{7F83441C-FBEE-4352-925F-0745A21765C9}" dt="2023-09-14T17:49:01.901" v="4472"/>
          <ac:spMkLst>
            <pc:docMk/>
            <pc:sldMk cId="4261733302" sldId="2441"/>
            <ac:spMk id="25" creationId="{14655ACB-BCDB-9948-9F99-8770024299DD}"/>
          </ac:spMkLst>
        </pc:spChg>
        <pc:spChg chg="add del mod modVis">
          <ac:chgData name="van Leeuwen  Sara (VPPL)" userId="7a5f1df4-0dd0-4c9e-a72f-a035cf318af6" providerId="ADAL" clId="{7F83441C-FBEE-4352-925F-0745A21765C9}" dt="2023-09-14T17:49:04.172" v="4533"/>
          <ac:spMkLst>
            <pc:docMk/>
            <pc:sldMk cId="4261733302" sldId="2441"/>
            <ac:spMk id="27" creationId="{546437FD-35B7-2817-C012-E450021D7231}"/>
          </ac:spMkLst>
        </pc:spChg>
        <pc:spChg chg="add del mod modVis">
          <ac:chgData name="van Leeuwen  Sara (VPPL)" userId="7a5f1df4-0dd0-4c9e-a72f-a035cf318af6" providerId="ADAL" clId="{7F83441C-FBEE-4352-925F-0745A21765C9}" dt="2023-09-14T17:49:05.369" v="4594"/>
          <ac:spMkLst>
            <pc:docMk/>
            <pc:sldMk cId="4261733302" sldId="2441"/>
            <ac:spMk id="28" creationId="{77987C5D-9323-4F81-45B8-16F22122AEF1}"/>
          </ac:spMkLst>
        </pc:spChg>
        <pc:spChg chg="add del mod modVis">
          <ac:chgData name="van Leeuwen  Sara (VPPL)" userId="7a5f1df4-0dd0-4c9e-a72f-a035cf318af6" providerId="ADAL" clId="{7F83441C-FBEE-4352-925F-0745A21765C9}" dt="2023-09-14T17:49:06.376" v="4656"/>
          <ac:spMkLst>
            <pc:docMk/>
            <pc:sldMk cId="4261733302" sldId="2441"/>
            <ac:spMk id="29" creationId="{77C10163-ECCE-1242-DB83-266644A3BEBE}"/>
          </ac:spMkLst>
        </pc:spChg>
        <pc:spChg chg="add del mod modVis">
          <ac:chgData name="van Leeuwen  Sara (VPPL)" userId="7a5f1df4-0dd0-4c9e-a72f-a035cf318af6" providerId="ADAL" clId="{7F83441C-FBEE-4352-925F-0745A21765C9}" dt="2023-09-14T17:49:07.953" v="4722"/>
          <ac:spMkLst>
            <pc:docMk/>
            <pc:sldMk cId="4261733302" sldId="2441"/>
            <ac:spMk id="30" creationId="{0B3A6F32-3419-49B1-FBFA-6CEE37E78DFF}"/>
          </ac:spMkLst>
        </pc:spChg>
        <pc:spChg chg="add del mod modVis">
          <ac:chgData name="van Leeuwen  Sara (VPPL)" userId="7a5f1df4-0dd0-4c9e-a72f-a035cf318af6" providerId="ADAL" clId="{7F83441C-FBEE-4352-925F-0745A21765C9}" dt="2023-09-14T17:49:09.968" v="4791"/>
          <ac:spMkLst>
            <pc:docMk/>
            <pc:sldMk cId="4261733302" sldId="2441"/>
            <ac:spMk id="31" creationId="{F0830042-C7F9-D5D5-814B-1BBAB2A88D85}"/>
          </ac:spMkLst>
        </pc:spChg>
        <pc:spChg chg="add del mod modVis">
          <ac:chgData name="van Leeuwen  Sara (VPPL)" userId="7a5f1df4-0dd0-4c9e-a72f-a035cf318af6" providerId="ADAL" clId="{7F83441C-FBEE-4352-925F-0745A21765C9}" dt="2023-09-14T17:49:12.029" v="4859"/>
          <ac:spMkLst>
            <pc:docMk/>
            <pc:sldMk cId="4261733302" sldId="2441"/>
            <ac:spMk id="32" creationId="{826C7A52-95D5-352D-18FB-7E142182209A}"/>
          </ac:spMkLst>
        </pc:spChg>
        <pc:spChg chg="add del mod modVis">
          <ac:chgData name="van Leeuwen  Sara (VPPL)" userId="7a5f1df4-0dd0-4c9e-a72f-a035cf318af6" providerId="ADAL" clId="{7F83441C-FBEE-4352-925F-0745A21765C9}" dt="2023-09-14T17:49:12.662" v="4919"/>
          <ac:spMkLst>
            <pc:docMk/>
            <pc:sldMk cId="4261733302" sldId="2441"/>
            <ac:spMk id="33" creationId="{FD3AEAF9-452A-20A4-AFB9-5C7F907465D5}"/>
          </ac:spMkLst>
        </pc:spChg>
        <pc:graphicFrameChg chg="mod">
          <ac:chgData name="van Leeuwen  Sara (VPPL)" userId="7a5f1df4-0dd0-4c9e-a72f-a035cf318af6" providerId="ADAL" clId="{7F83441C-FBEE-4352-925F-0745A21765C9}" dt="2023-09-14T17:49:12.674" v="4921"/>
          <ac:graphicFrameMkLst>
            <pc:docMk/>
            <pc:sldMk cId="4261733302" sldId="2441"/>
            <ac:graphicFrameMk id="5" creationId="{6CD3BF2A-4B05-1D82-BE24-6EDADE277B81}"/>
          </ac:graphicFrameMkLst>
        </pc:graphicFrameChg>
        <pc:picChg chg="add del mod">
          <ac:chgData name="van Leeuwen  Sara (VPPL)" userId="7a5f1df4-0dd0-4c9e-a72f-a035cf318af6" providerId="ADAL" clId="{7F83441C-FBEE-4352-925F-0745A21765C9}" dt="2023-09-14T17:39:42.486" v="3967" actId="478"/>
          <ac:picMkLst>
            <pc:docMk/>
            <pc:sldMk cId="4261733302" sldId="2441"/>
            <ac:picMk id="13" creationId="{02A9D6A9-22CC-2E96-4FF3-7DF5F5A1A015}"/>
          </ac:picMkLst>
        </pc:picChg>
        <pc:picChg chg="add mod modCrop">
          <ac:chgData name="van Leeuwen  Sara (VPPL)" userId="7a5f1df4-0dd0-4c9e-a72f-a035cf318af6" providerId="ADAL" clId="{7F83441C-FBEE-4352-925F-0745A21765C9}" dt="2023-09-14T17:43:29.893" v="4123" actId="1037"/>
          <ac:picMkLst>
            <pc:docMk/>
            <pc:sldMk cId="4261733302" sldId="2441"/>
            <ac:picMk id="15" creationId="{84DEC4E7-DD73-59BF-012C-333AD16C9094}"/>
          </ac:picMkLst>
        </pc:picChg>
        <pc:picChg chg="add mod">
          <ac:chgData name="van Leeuwen  Sara (VPPL)" userId="7a5f1df4-0dd0-4c9e-a72f-a035cf318af6" providerId="ADAL" clId="{7F83441C-FBEE-4352-925F-0745A21765C9}" dt="2023-09-14T17:43:29.893" v="4123" actId="1037"/>
          <ac:picMkLst>
            <pc:docMk/>
            <pc:sldMk cId="4261733302" sldId="2441"/>
            <ac:picMk id="16" creationId="{356398CD-32B8-C0EB-CC4C-ACBD588CB768}"/>
          </ac:picMkLst>
        </pc:picChg>
        <pc:picChg chg="add mod">
          <ac:chgData name="van Leeuwen  Sara (VPPL)" userId="7a5f1df4-0dd0-4c9e-a72f-a035cf318af6" providerId="ADAL" clId="{7F83441C-FBEE-4352-925F-0745A21765C9}" dt="2023-09-14T17:43:29.893" v="4123" actId="1037"/>
          <ac:picMkLst>
            <pc:docMk/>
            <pc:sldMk cId="4261733302" sldId="2441"/>
            <ac:picMk id="17" creationId="{CAE16BB1-A18E-6D29-1CE7-5F2E89094808}"/>
          </ac:picMkLst>
        </pc:picChg>
        <pc:picChg chg="add mod">
          <ac:chgData name="van Leeuwen  Sara (VPPL)" userId="7a5f1df4-0dd0-4c9e-a72f-a035cf318af6" providerId="ADAL" clId="{7F83441C-FBEE-4352-925F-0745A21765C9}" dt="2023-09-14T17:43:29.893" v="4123" actId="1037"/>
          <ac:picMkLst>
            <pc:docMk/>
            <pc:sldMk cId="4261733302" sldId="2441"/>
            <ac:picMk id="18" creationId="{9463AA58-2E39-5138-4E5E-37896E64F226}"/>
          </ac:picMkLst>
        </pc:picChg>
        <pc:picChg chg="add mod">
          <ac:chgData name="van Leeuwen  Sara (VPPL)" userId="7a5f1df4-0dd0-4c9e-a72f-a035cf318af6" providerId="ADAL" clId="{7F83441C-FBEE-4352-925F-0745A21765C9}" dt="2023-09-14T17:43:37.891" v="4134" actId="1035"/>
          <ac:picMkLst>
            <pc:docMk/>
            <pc:sldMk cId="4261733302" sldId="2441"/>
            <ac:picMk id="21" creationId="{68C32B9A-7B72-1435-0CB0-9364B7080AAB}"/>
          </ac:picMkLst>
        </pc:picChg>
        <pc:picChg chg="del">
          <ac:chgData name="van Leeuwen  Sara (VPPL)" userId="7a5f1df4-0dd0-4c9e-a72f-a035cf318af6" providerId="ADAL" clId="{7F83441C-FBEE-4352-925F-0745A21765C9}" dt="2023-09-14T17:35:37.072" v="3947" actId="478"/>
          <ac:picMkLst>
            <pc:docMk/>
            <pc:sldMk cId="4261733302" sldId="2441"/>
            <ac:picMk id="26" creationId="{31E44439-1382-DDF9-F549-7C738C45232B}"/>
          </ac:picMkLst>
        </pc:picChg>
      </pc:sldChg>
      <pc:sldChg chg="addSp delSp modSp add mod">
        <pc:chgData name="van Leeuwen  Sara (VPPL)" userId="7a5f1df4-0dd0-4c9e-a72f-a035cf318af6" providerId="ADAL" clId="{7F83441C-FBEE-4352-925F-0745A21765C9}" dt="2023-09-14T17:50:50.857" v="5797"/>
        <pc:sldMkLst>
          <pc:docMk/>
          <pc:sldMk cId="3420152249" sldId="2442"/>
        </pc:sldMkLst>
        <pc:spChg chg="mod">
          <ac:chgData name="van Leeuwen  Sara (VPPL)" userId="7a5f1df4-0dd0-4c9e-a72f-a035cf318af6" providerId="ADAL" clId="{7F83441C-FBEE-4352-925F-0745A21765C9}" dt="2023-09-14T17:50:50.778" v="5724" actId="948"/>
          <ac:spMkLst>
            <pc:docMk/>
            <pc:sldMk cId="3420152249" sldId="2442"/>
            <ac:spMk id="2" creationId="{00000000-0000-0000-0000-000000000000}"/>
          </ac:spMkLst>
        </pc:spChg>
        <pc:spChg chg="add mod">
          <ac:chgData name="van Leeuwen  Sara (VPPL)" userId="7a5f1df4-0dd0-4c9e-a72f-a035cf318af6" providerId="ADAL" clId="{7F83441C-FBEE-4352-925F-0745A21765C9}" dt="2023-09-14T17:49:37.973" v="5179" actId="113"/>
          <ac:spMkLst>
            <pc:docMk/>
            <pc:sldMk cId="3420152249" sldId="2442"/>
            <ac:spMk id="3" creationId="{DA9D408E-409A-09DE-FA88-268F95DF1BEC}"/>
          </ac:spMkLst>
        </pc:spChg>
        <pc:spChg chg="add del mod modVis">
          <ac:chgData name="van Leeuwen  Sara (VPPL)" userId="7a5f1df4-0dd0-4c9e-a72f-a035cf318af6" providerId="ADAL" clId="{7F83441C-FBEE-4352-925F-0745A21765C9}" dt="2023-09-14T17:49:17.395" v="4980"/>
          <ac:spMkLst>
            <pc:docMk/>
            <pc:sldMk cId="3420152249" sldId="2442"/>
            <ac:spMk id="7" creationId="{AE1B174D-DFAE-55F5-0CF4-ED71328C7CB4}"/>
          </ac:spMkLst>
        </pc:spChg>
        <pc:spChg chg="add del mod modVis">
          <ac:chgData name="van Leeuwen  Sara (VPPL)" userId="7a5f1df4-0dd0-4c9e-a72f-a035cf318af6" providerId="ADAL" clId="{7F83441C-FBEE-4352-925F-0745A21765C9}" dt="2023-09-14T17:49:19.395" v="5042"/>
          <ac:spMkLst>
            <pc:docMk/>
            <pc:sldMk cId="3420152249" sldId="2442"/>
            <ac:spMk id="8" creationId="{5DBC1B9B-CF78-A7EF-736C-ECA644E91016}"/>
          </ac:spMkLst>
        </pc:spChg>
        <pc:spChg chg="del">
          <ac:chgData name="van Leeuwen  Sara (VPPL)" userId="7a5f1df4-0dd0-4c9e-a72f-a035cf318af6" providerId="ADAL" clId="{7F83441C-FBEE-4352-925F-0745A21765C9}" dt="2023-09-14T17:43:50.673" v="4135" actId="478"/>
          <ac:spMkLst>
            <pc:docMk/>
            <pc:sldMk cId="3420152249" sldId="2442"/>
            <ac:spMk id="10" creationId="{00000000-0000-0000-0000-000000000000}"/>
          </ac:spMkLst>
        </pc:spChg>
        <pc:spChg chg="add del mod modVis">
          <ac:chgData name="van Leeuwen  Sara (VPPL)" userId="7a5f1df4-0dd0-4c9e-a72f-a035cf318af6" providerId="ADAL" clId="{7F83441C-FBEE-4352-925F-0745A21765C9}" dt="2023-09-14T17:49:20.102" v="5102"/>
          <ac:spMkLst>
            <pc:docMk/>
            <pc:sldMk cId="3420152249" sldId="2442"/>
            <ac:spMk id="11" creationId="{78759CAB-DE9E-F653-392A-58D9A20F5D8F}"/>
          </ac:spMkLst>
        </pc:spChg>
        <pc:spChg chg="add del mod modVis">
          <ac:chgData name="van Leeuwen  Sara (VPPL)" userId="7a5f1df4-0dd0-4c9e-a72f-a035cf318af6" providerId="ADAL" clId="{7F83441C-FBEE-4352-925F-0745A21765C9}" dt="2023-09-14T17:49:21.917" v="5167"/>
          <ac:spMkLst>
            <pc:docMk/>
            <pc:sldMk cId="3420152249" sldId="2442"/>
            <ac:spMk id="13" creationId="{895D38A0-873F-4E6F-D0F9-DC9EA9CCE3A7}"/>
          </ac:spMkLst>
        </pc:spChg>
        <pc:spChg chg="add del mod modVis">
          <ac:chgData name="van Leeuwen  Sara (VPPL)" userId="7a5f1df4-0dd0-4c9e-a72f-a035cf318af6" providerId="ADAL" clId="{7F83441C-FBEE-4352-925F-0745A21765C9}" dt="2023-09-14T17:50:41.176" v="5536"/>
          <ac:spMkLst>
            <pc:docMk/>
            <pc:sldMk cId="3420152249" sldId="2442"/>
            <ac:spMk id="14" creationId="{56A9A731-9ABC-609C-D2B7-B4AFAE6B5F82}"/>
          </ac:spMkLst>
        </pc:spChg>
        <pc:spChg chg="add del mod modVis">
          <ac:chgData name="van Leeuwen  Sara (VPPL)" userId="7a5f1df4-0dd0-4c9e-a72f-a035cf318af6" providerId="ADAL" clId="{7F83441C-FBEE-4352-925F-0745A21765C9}" dt="2023-09-14T17:50:42.655" v="5599"/>
          <ac:spMkLst>
            <pc:docMk/>
            <pc:sldMk cId="3420152249" sldId="2442"/>
            <ac:spMk id="15" creationId="{A58E0B65-8328-7D05-0659-59D24F2CD569}"/>
          </ac:spMkLst>
        </pc:spChg>
        <pc:spChg chg="add del mod modVis">
          <ac:chgData name="van Leeuwen  Sara (VPPL)" userId="7a5f1df4-0dd0-4c9e-a72f-a035cf318af6" providerId="ADAL" clId="{7F83441C-FBEE-4352-925F-0745A21765C9}" dt="2023-09-14T17:50:43.963" v="5660"/>
          <ac:spMkLst>
            <pc:docMk/>
            <pc:sldMk cId="3420152249" sldId="2442"/>
            <ac:spMk id="16" creationId="{F9E4370E-99BB-B6D0-BBD7-6A315CAB3339}"/>
          </ac:spMkLst>
        </pc:spChg>
        <pc:spChg chg="add del mod modVis">
          <ac:chgData name="van Leeuwen  Sara (VPPL)" userId="7a5f1df4-0dd0-4c9e-a72f-a035cf318af6" providerId="ADAL" clId="{7F83441C-FBEE-4352-925F-0745A21765C9}" dt="2023-09-14T17:50:46.461" v="5720"/>
          <ac:spMkLst>
            <pc:docMk/>
            <pc:sldMk cId="3420152249" sldId="2442"/>
            <ac:spMk id="17" creationId="{B0546A72-9ECA-AEA0-2FB9-B5C07EA84C48}"/>
          </ac:spMkLst>
        </pc:spChg>
        <pc:spChg chg="add del mod modVis">
          <ac:chgData name="van Leeuwen  Sara (VPPL)" userId="7a5f1df4-0dd0-4c9e-a72f-a035cf318af6" providerId="ADAL" clId="{7F83441C-FBEE-4352-925F-0745A21765C9}" dt="2023-09-14T17:50:50.857" v="5795"/>
          <ac:spMkLst>
            <pc:docMk/>
            <pc:sldMk cId="3420152249" sldId="2442"/>
            <ac:spMk id="18" creationId="{FF700A48-59D8-739C-EDF8-B111CD09102C}"/>
          </ac:spMkLst>
        </pc:spChg>
        <pc:spChg chg="mod">
          <ac:chgData name="van Leeuwen  Sara (VPPL)" userId="7a5f1df4-0dd0-4c9e-a72f-a035cf318af6" providerId="ADAL" clId="{7F83441C-FBEE-4352-925F-0745A21765C9}" dt="2023-09-14T17:49:44.936" v="5193" actId="1036"/>
          <ac:spMkLst>
            <pc:docMk/>
            <pc:sldMk cId="3420152249" sldId="2442"/>
            <ac:spMk id="19" creationId="{A0AA57D8-6525-B82E-1C62-1D086A2C61F0}"/>
          </ac:spMkLst>
        </pc:spChg>
        <pc:spChg chg="mod">
          <ac:chgData name="van Leeuwen  Sara (VPPL)" userId="7a5f1df4-0dd0-4c9e-a72f-a035cf318af6" providerId="ADAL" clId="{7F83441C-FBEE-4352-925F-0745A21765C9}" dt="2023-09-14T17:49:44.936" v="5193" actId="1036"/>
          <ac:spMkLst>
            <pc:docMk/>
            <pc:sldMk cId="3420152249" sldId="2442"/>
            <ac:spMk id="20" creationId="{CF7B0E3C-915D-6129-4612-FFB31E8E9DE1}"/>
          </ac:spMkLst>
        </pc:spChg>
        <pc:spChg chg="mod">
          <ac:chgData name="van Leeuwen  Sara (VPPL)" userId="7a5f1df4-0dd0-4c9e-a72f-a035cf318af6" providerId="ADAL" clId="{7F83441C-FBEE-4352-925F-0745A21765C9}" dt="2023-09-14T17:49:44.936" v="5193" actId="1036"/>
          <ac:spMkLst>
            <pc:docMk/>
            <pc:sldMk cId="3420152249" sldId="2442"/>
            <ac:spMk id="24" creationId="{75D38813-0E3F-5E16-F430-0CD6F710989C}"/>
          </ac:spMkLst>
        </pc:spChg>
        <pc:graphicFrameChg chg="mod">
          <ac:chgData name="van Leeuwen  Sara (VPPL)" userId="7a5f1df4-0dd0-4c9e-a72f-a035cf318af6" providerId="ADAL" clId="{7F83441C-FBEE-4352-925F-0745A21765C9}" dt="2023-09-14T17:50:50.857" v="5797"/>
          <ac:graphicFrameMkLst>
            <pc:docMk/>
            <pc:sldMk cId="3420152249" sldId="2442"/>
            <ac:graphicFrameMk id="5" creationId="{6CD3BF2A-4B05-1D82-BE24-6EDADE277B81}"/>
          </ac:graphicFrameMkLst>
        </pc:graphicFrameChg>
        <pc:picChg chg="mod">
          <ac:chgData name="van Leeuwen  Sara (VPPL)" userId="7a5f1df4-0dd0-4c9e-a72f-a035cf318af6" providerId="ADAL" clId="{7F83441C-FBEE-4352-925F-0745A21765C9}" dt="2023-09-14T17:49:44.936" v="5193" actId="1036"/>
          <ac:picMkLst>
            <pc:docMk/>
            <pc:sldMk cId="3420152249" sldId="2442"/>
            <ac:picMk id="26" creationId="{31E44439-1382-DDF9-F549-7C738C45232B}"/>
          </ac:picMkLst>
        </pc:picChg>
      </pc:sldChg>
      <pc:sldChg chg="new add del">
        <pc:chgData name="van Leeuwen  Sara (VPPL)" userId="7a5f1df4-0dd0-4c9e-a72f-a035cf318af6" providerId="ADAL" clId="{7F83441C-FBEE-4352-925F-0745A21765C9}" dt="2023-09-14T17:50:04.232" v="5196" actId="47"/>
        <pc:sldMkLst>
          <pc:docMk/>
          <pc:sldMk cId="531850227" sldId="2443"/>
        </pc:sldMkLst>
      </pc:sldChg>
      <pc:sldChg chg="addSp delSp modSp new add mod">
        <pc:chgData name="van Leeuwen  Sara (VPPL)" userId="7a5f1df4-0dd0-4c9e-a72f-a035cf318af6" providerId="ADAL" clId="{7F83441C-FBEE-4352-925F-0745A21765C9}" dt="2023-09-14T17:53:10.077" v="5846" actId="1035"/>
        <pc:sldMkLst>
          <pc:docMk/>
          <pc:sldMk cId="3191170877" sldId="2443"/>
        </pc:sldMkLst>
        <pc:spChg chg="mod">
          <ac:chgData name="van Leeuwen  Sara (VPPL)" userId="7a5f1df4-0dd0-4c9e-a72f-a035cf318af6" providerId="ADAL" clId="{7F83441C-FBEE-4352-925F-0745A21765C9}" dt="2023-09-14T17:50:36.336" v="5400" actId="948"/>
          <ac:spMkLst>
            <pc:docMk/>
            <pc:sldMk cId="3191170877" sldId="2443"/>
            <ac:spMk id="2" creationId="{690BD18C-4CB3-58F7-B41A-F4746B7DAA6D}"/>
          </ac:spMkLst>
        </pc:spChg>
        <pc:spChg chg="mod">
          <ac:chgData name="van Leeuwen  Sara (VPPL)" userId="7a5f1df4-0dd0-4c9e-a72f-a035cf318af6" providerId="ADAL" clId="{7F83441C-FBEE-4352-925F-0745A21765C9}" dt="2023-09-14T17:52:34.864" v="5826" actId="2710"/>
          <ac:spMkLst>
            <pc:docMk/>
            <pc:sldMk cId="3191170877" sldId="2443"/>
            <ac:spMk id="3" creationId="{74ABCEC1-985B-1C66-2D33-43D74A38B600}"/>
          </ac:spMkLst>
        </pc:spChg>
        <pc:spChg chg="add del mod modVis">
          <ac:chgData name="van Leeuwen  Sara (VPPL)" userId="7a5f1df4-0dd0-4c9e-a72f-a035cf318af6" providerId="ADAL" clId="{7F83441C-FBEE-4352-925F-0745A21765C9}" dt="2023-09-14T17:50:23.334" v="5256"/>
          <ac:spMkLst>
            <pc:docMk/>
            <pc:sldMk cId="3191170877" sldId="2443"/>
            <ac:spMk id="7" creationId="{3664BE50-B875-745A-2C72-F876056BE3C0}"/>
          </ac:spMkLst>
        </pc:spChg>
        <pc:spChg chg="add del mod modVis">
          <ac:chgData name="van Leeuwen  Sara (VPPL)" userId="7a5f1df4-0dd0-4c9e-a72f-a035cf318af6" providerId="ADAL" clId="{7F83441C-FBEE-4352-925F-0745A21765C9}" dt="2023-09-14T17:50:30.702" v="5335"/>
          <ac:spMkLst>
            <pc:docMk/>
            <pc:sldMk cId="3191170877" sldId="2443"/>
            <ac:spMk id="9" creationId="{6E9A12A3-2DD3-16A3-F862-0E35E55EA3D7}"/>
          </ac:spMkLst>
        </pc:spChg>
        <pc:spChg chg="add del mod modVis">
          <ac:chgData name="van Leeuwen  Sara (VPPL)" userId="7a5f1df4-0dd0-4c9e-a72f-a035cf318af6" providerId="ADAL" clId="{7F83441C-FBEE-4352-925F-0745A21765C9}" dt="2023-09-14T17:50:32.275" v="5396"/>
          <ac:spMkLst>
            <pc:docMk/>
            <pc:sldMk cId="3191170877" sldId="2443"/>
            <ac:spMk id="10" creationId="{49B016F6-54D9-69D7-24CE-EF94073B3D08}"/>
          </ac:spMkLst>
        </pc:spChg>
        <pc:spChg chg="add del mod modVis">
          <ac:chgData name="van Leeuwen  Sara (VPPL)" userId="7a5f1df4-0dd0-4c9e-a72f-a035cf318af6" providerId="ADAL" clId="{7F83441C-FBEE-4352-925F-0745A21765C9}" dt="2023-09-14T17:50:36.399" v="5471"/>
          <ac:spMkLst>
            <pc:docMk/>
            <pc:sldMk cId="3191170877" sldId="2443"/>
            <ac:spMk id="11" creationId="{B3828E83-EF00-0D19-6077-41D01282EAD0}"/>
          </ac:spMkLst>
        </pc:spChg>
        <pc:graphicFrameChg chg="add mod ord modVis replST">
          <ac:chgData name="van Leeuwen  Sara (VPPL)" userId="7a5f1df4-0dd0-4c9e-a72f-a035cf318af6" providerId="ADAL" clId="{7F83441C-FBEE-4352-925F-0745A21765C9}" dt="2023-09-14T17:50:36.399" v="5473"/>
          <ac:graphicFrameMkLst>
            <pc:docMk/>
            <pc:sldMk cId="3191170877" sldId="2443"/>
            <ac:graphicFrameMk id="8" creationId="{FF86D724-693B-0D9D-47EA-2D497893D3B1}"/>
          </ac:graphicFrameMkLst>
        </pc:graphicFrameChg>
        <pc:picChg chg="add del mod">
          <ac:chgData name="van Leeuwen  Sara (VPPL)" userId="7a5f1df4-0dd0-4c9e-a72f-a035cf318af6" providerId="ADAL" clId="{7F83441C-FBEE-4352-925F-0745A21765C9}" dt="2023-09-14T17:51:51.780" v="5820"/>
          <ac:picMkLst>
            <pc:docMk/>
            <pc:sldMk cId="3191170877" sldId="2443"/>
            <ac:picMk id="12" creationId="{23239B08-EF57-2505-714D-02ABBEF33590}"/>
          </ac:picMkLst>
        </pc:picChg>
        <pc:picChg chg="add mod">
          <ac:chgData name="van Leeuwen  Sara (VPPL)" userId="7a5f1df4-0dd0-4c9e-a72f-a035cf318af6" providerId="ADAL" clId="{7F83441C-FBEE-4352-925F-0745A21765C9}" dt="2023-09-14T17:53:04.753" v="5842" actId="1036"/>
          <ac:picMkLst>
            <pc:docMk/>
            <pc:sldMk cId="3191170877" sldId="2443"/>
            <ac:picMk id="13" creationId="{92ADF850-A62D-53A7-659C-2F95888667A6}"/>
          </ac:picMkLst>
        </pc:picChg>
        <pc:picChg chg="add mod">
          <ac:chgData name="van Leeuwen  Sara (VPPL)" userId="7a5f1df4-0dd0-4c9e-a72f-a035cf318af6" providerId="ADAL" clId="{7F83441C-FBEE-4352-925F-0745A21765C9}" dt="2023-09-14T17:53:04.753" v="5842" actId="1036"/>
          <ac:picMkLst>
            <pc:docMk/>
            <pc:sldMk cId="3191170877" sldId="2443"/>
            <ac:picMk id="14" creationId="{87F4E5DE-EE39-83A8-1A0C-CC5591CAB76B}"/>
          </ac:picMkLst>
        </pc:picChg>
        <pc:picChg chg="add mod">
          <ac:chgData name="van Leeuwen  Sara (VPPL)" userId="7a5f1df4-0dd0-4c9e-a72f-a035cf318af6" providerId="ADAL" clId="{7F83441C-FBEE-4352-925F-0745A21765C9}" dt="2023-09-14T17:53:04.753" v="5842" actId="1036"/>
          <ac:picMkLst>
            <pc:docMk/>
            <pc:sldMk cId="3191170877" sldId="2443"/>
            <ac:picMk id="15" creationId="{A5B5413E-3AB6-6BCB-B61F-BC0480B2F119}"/>
          </ac:picMkLst>
        </pc:picChg>
        <pc:picChg chg="add mod">
          <ac:chgData name="van Leeuwen  Sara (VPPL)" userId="7a5f1df4-0dd0-4c9e-a72f-a035cf318af6" providerId="ADAL" clId="{7F83441C-FBEE-4352-925F-0745A21765C9}" dt="2023-09-14T17:53:04.753" v="5842" actId="1036"/>
          <ac:picMkLst>
            <pc:docMk/>
            <pc:sldMk cId="3191170877" sldId="2443"/>
            <ac:picMk id="16" creationId="{9C353BF5-5831-DC36-D15F-D3D70B8D3D82}"/>
          </ac:picMkLst>
        </pc:picChg>
        <pc:picChg chg="add mod">
          <ac:chgData name="van Leeuwen  Sara (VPPL)" userId="7a5f1df4-0dd0-4c9e-a72f-a035cf318af6" providerId="ADAL" clId="{7F83441C-FBEE-4352-925F-0745A21765C9}" dt="2023-09-14T17:53:10.077" v="5846" actId="1035"/>
          <ac:picMkLst>
            <pc:docMk/>
            <pc:sldMk cId="3191170877" sldId="2443"/>
            <ac:picMk id="17" creationId="{C8769AF6-8D06-05B7-E408-734752A36478}"/>
          </ac:picMkLst>
        </pc:picChg>
      </pc:sldChg>
      <pc:sldMasterChg chg="modSp mod modSldLayout">
        <pc:chgData name="van Leeuwen  Sara (VPPL)" userId="7a5f1df4-0dd0-4c9e-a72f-a035cf318af6" providerId="ADAL" clId="{7F83441C-FBEE-4352-925F-0745A21765C9}" dt="2023-09-14T16:49:26.769" v="2861"/>
        <pc:sldMasterMkLst>
          <pc:docMk/>
          <pc:sldMasterMk cId="409606273" sldId="2147483648"/>
        </pc:sldMasterMkLst>
        <pc:spChg chg="mod">
          <ac:chgData name="van Leeuwen  Sara (VPPL)" userId="7a5f1df4-0dd0-4c9e-a72f-a035cf318af6" providerId="ADAL" clId="{7F83441C-FBEE-4352-925F-0745A21765C9}" dt="2023-09-14T16:45:29.764" v="2832"/>
          <ac:spMkLst>
            <pc:docMk/>
            <pc:sldMasterMk cId="409606273" sldId="2147483648"/>
            <ac:spMk id="5" creationId="{411EC403-6E63-4450-AFDD-66CA49D6CCBE}"/>
          </ac:spMkLst>
        </pc:spChg>
        <pc:sldLayoutChg chg="modSp mod">
          <pc:chgData name="van Leeuwen  Sara (VPPL)" userId="7a5f1df4-0dd0-4c9e-a72f-a035cf318af6" providerId="ADAL" clId="{7F83441C-FBEE-4352-925F-0745A21765C9}" dt="2023-09-14T16:45:22.413" v="2831"/>
          <pc:sldLayoutMkLst>
            <pc:docMk/>
            <pc:sldMasterMk cId="409606273" sldId="2147483648"/>
            <pc:sldLayoutMk cId="2221599722" sldId="2147483650"/>
          </pc:sldLayoutMkLst>
          <pc:spChg chg="mod">
            <ac:chgData name="van Leeuwen  Sara (VPPL)" userId="7a5f1df4-0dd0-4c9e-a72f-a035cf318af6" providerId="ADAL" clId="{7F83441C-FBEE-4352-925F-0745A21765C9}" dt="2023-09-14T16:45:22.413" v="2831"/>
            <ac:spMkLst>
              <pc:docMk/>
              <pc:sldMasterMk cId="409606273" sldId="2147483648"/>
              <pc:sldLayoutMk cId="2221599722" sldId="2147483650"/>
              <ac:spMk id="5" creationId="{1BC78786-28C3-4EAB-A3FC-1A4BFA8447EC}"/>
            </ac:spMkLst>
          </pc:spChg>
        </pc:sldLayoutChg>
        <pc:sldLayoutChg chg="modSp mod">
          <pc:chgData name="van Leeuwen  Sara (VPPL)" userId="7a5f1df4-0dd0-4c9e-a72f-a035cf318af6" providerId="ADAL" clId="{7F83441C-FBEE-4352-925F-0745A21765C9}" dt="2023-09-14T16:45:47.259" v="2833"/>
          <pc:sldLayoutMkLst>
            <pc:docMk/>
            <pc:sldMasterMk cId="409606273" sldId="2147483648"/>
            <pc:sldLayoutMk cId="1888753134" sldId="2147483655"/>
          </pc:sldLayoutMkLst>
          <pc:spChg chg="mod">
            <ac:chgData name="van Leeuwen  Sara (VPPL)" userId="7a5f1df4-0dd0-4c9e-a72f-a035cf318af6" providerId="ADAL" clId="{7F83441C-FBEE-4352-925F-0745A21765C9}" dt="2023-09-14T16:45:47.259" v="2833"/>
            <ac:spMkLst>
              <pc:docMk/>
              <pc:sldMasterMk cId="409606273" sldId="2147483648"/>
              <pc:sldLayoutMk cId="1888753134" sldId="2147483655"/>
              <ac:spMk id="5" creationId="{1BC78786-28C3-4EAB-A3FC-1A4BFA8447EC}"/>
            </ac:spMkLst>
          </pc:spChg>
        </pc:sldLayoutChg>
        <pc:sldLayoutChg chg="modSp mod">
          <pc:chgData name="van Leeuwen  Sara (VPPL)" userId="7a5f1df4-0dd0-4c9e-a72f-a035cf318af6" providerId="ADAL" clId="{7F83441C-FBEE-4352-925F-0745A21765C9}" dt="2023-09-14T16:45:50.822" v="2834"/>
          <pc:sldLayoutMkLst>
            <pc:docMk/>
            <pc:sldMasterMk cId="409606273" sldId="2147483648"/>
            <pc:sldLayoutMk cId="426001722" sldId="2147483656"/>
          </pc:sldLayoutMkLst>
          <pc:spChg chg="mod">
            <ac:chgData name="van Leeuwen  Sara (VPPL)" userId="7a5f1df4-0dd0-4c9e-a72f-a035cf318af6" providerId="ADAL" clId="{7F83441C-FBEE-4352-925F-0745A21765C9}" dt="2023-09-14T16:45:50.822" v="2834"/>
            <ac:spMkLst>
              <pc:docMk/>
              <pc:sldMasterMk cId="409606273" sldId="2147483648"/>
              <pc:sldLayoutMk cId="426001722" sldId="2147483656"/>
              <ac:spMk id="5" creationId="{1BC78786-28C3-4EAB-A3FC-1A4BFA8447EC}"/>
            </ac:spMkLst>
          </pc:spChg>
        </pc:sldLayoutChg>
        <pc:sldLayoutChg chg="modSp mod">
          <pc:chgData name="van Leeuwen  Sara (VPPL)" userId="7a5f1df4-0dd0-4c9e-a72f-a035cf318af6" providerId="ADAL" clId="{7F83441C-FBEE-4352-925F-0745A21765C9}" dt="2023-09-14T16:45:57.176" v="2835"/>
          <pc:sldLayoutMkLst>
            <pc:docMk/>
            <pc:sldMasterMk cId="409606273" sldId="2147483648"/>
            <pc:sldLayoutMk cId="3716835328" sldId="2147483657"/>
          </pc:sldLayoutMkLst>
          <pc:spChg chg="mod">
            <ac:chgData name="van Leeuwen  Sara (VPPL)" userId="7a5f1df4-0dd0-4c9e-a72f-a035cf318af6" providerId="ADAL" clId="{7F83441C-FBEE-4352-925F-0745A21765C9}" dt="2023-09-14T16:45:57.176" v="2835"/>
            <ac:spMkLst>
              <pc:docMk/>
              <pc:sldMasterMk cId="409606273" sldId="2147483648"/>
              <pc:sldLayoutMk cId="3716835328" sldId="2147483657"/>
              <ac:spMk id="5" creationId="{1BC78786-28C3-4EAB-A3FC-1A4BFA8447EC}"/>
            </ac:spMkLst>
          </pc:spChg>
        </pc:sldLayoutChg>
        <pc:sldLayoutChg chg="modSp mod">
          <pc:chgData name="van Leeuwen  Sara (VPPL)" userId="7a5f1df4-0dd0-4c9e-a72f-a035cf318af6" providerId="ADAL" clId="{7F83441C-FBEE-4352-925F-0745A21765C9}" dt="2023-09-14T16:46:01.149" v="2836"/>
          <pc:sldLayoutMkLst>
            <pc:docMk/>
            <pc:sldMasterMk cId="409606273" sldId="2147483648"/>
            <pc:sldLayoutMk cId="943852122" sldId="2147483658"/>
          </pc:sldLayoutMkLst>
          <pc:spChg chg="mod">
            <ac:chgData name="van Leeuwen  Sara (VPPL)" userId="7a5f1df4-0dd0-4c9e-a72f-a035cf318af6" providerId="ADAL" clId="{7F83441C-FBEE-4352-925F-0745A21765C9}" dt="2023-09-14T16:46:01.149" v="2836"/>
            <ac:spMkLst>
              <pc:docMk/>
              <pc:sldMasterMk cId="409606273" sldId="2147483648"/>
              <pc:sldLayoutMk cId="943852122" sldId="2147483658"/>
              <ac:spMk id="5" creationId="{1BC78786-28C3-4EAB-A3FC-1A4BFA8447EC}"/>
            </ac:spMkLst>
          </pc:spChg>
        </pc:sldLayoutChg>
        <pc:sldLayoutChg chg="modSp mod">
          <pc:chgData name="van Leeuwen  Sara (VPPL)" userId="7a5f1df4-0dd0-4c9e-a72f-a035cf318af6" providerId="ADAL" clId="{7F83441C-FBEE-4352-925F-0745A21765C9}" dt="2023-09-14T16:46:06.211" v="2837"/>
          <pc:sldLayoutMkLst>
            <pc:docMk/>
            <pc:sldMasterMk cId="409606273" sldId="2147483648"/>
            <pc:sldLayoutMk cId="2842048334" sldId="2147483659"/>
          </pc:sldLayoutMkLst>
          <pc:spChg chg="mod">
            <ac:chgData name="van Leeuwen  Sara (VPPL)" userId="7a5f1df4-0dd0-4c9e-a72f-a035cf318af6" providerId="ADAL" clId="{7F83441C-FBEE-4352-925F-0745A21765C9}" dt="2023-09-14T16:46:06.211" v="2837"/>
            <ac:spMkLst>
              <pc:docMk/>
              <pc:sldMasterMk cId="409606273" sldId="2147483648"/>
              <pc:sldLayoutMk cId="2842048334" sldId="2147483659"/>
              <ac:spMk id="5" creationId="{1BC78786-28C3-4EAB-A3FC-1A4BFA8447EC}"/>
            </ac:spMkLst>
          </pc:spChg>
        </pc:sldLayoutChg>
        <pc:sldLayoutChg chg="modSp mod">
          <pc:chgData name="van Leeuwen  Sara (VPPL)" userId="7a5f1df4-0dd0-4c9e-a72f-a035cf318af6" providerId="ADAL" clId="{7F83441C-FBEE-4352-925F-0745A21765C9}" dt="2023-09-14T16:47:08.143" v="2841"/>
          <pc:sldLayoutMkLst>
            <pc:docMk/>
            <pc:sldMasterMk cId="409606273" sldId="2147483648"/>
            <pc:sldLayoutMk cId="3996394784" sldId="2147483660"/>
          </pc:sldLayoutMkLst>
          <pc:spChg chg="mod">
            <ac:chgData name="van Leeuwen  Sara (VPPL)" userId="7a5f1df4-0dd0-4c9e-a72f-a035cf318af6" providerId="ADAL" clId="{7F83441C-FBEE-4352-925F-0745A21765C9}" dt="2023-09-14T16:47:08.143" v="2841"/>
            <ac:spMkLst>
              <pc:docMk/>
              <pc:sldMasterMk cId="409606273" sldId="2147483648"/>
              <pc:sldLayoutMk cId="3996394784" sldId="2147483660"/>
              <ac:spMk id="5" creationId="{1BC78786-28C3-4EAB-A3FC-1A4BFA8447EC}"/>
            </ac:spMkLst>
          </pc:spChg>
        </pc:sldLayoutChg>
        <pc:sldLayoutChg chg="modSp mod">
          <pc:chgData name="van Leeuwen  Sara (VPPL)" userId="7a5f1df4-0dd0-4c9e-a72f-a035cf318af6" providerId="ADAL" clId="{7F83441C-FBEE-4352-925F-0745A21765C9}" dt="2023-09-14T16:47:11.931" v="2842"/>
          <pc:sldLayoutMkLst>
            <pc:docMk/>
            <pc:sldMasterMk cId="409606273" sldId="2147483648"/>
            <pc:sldLayoutMk cId="1085750778" sldId="2147483661"/>
          </pc:sldLayoutMkLst>
          <pc:spChg chg="mod">
            <ac:chgData name="van Leeuwen  Sara (VPPL)" userId="7a5f1df4-0dd0-4c9e-a72f-a035cf318af6" providerId="ADAL" clId="{7F83441C-FBEE-4352-925F-0745A21765C9}" dt="2023-09-14T16:47:11.931" v="2842"/>
            <ac:spMkLst>
              <pc:docMk/>
              <pc:sldMasterMk cId="409606273" sldId="2147483648"/>
              <pc:sldLayoutMk cId="1085750778" sldId="2147483661"/>
              <ac:spMk id="5" creationId="{1BC78786-28C3-4EAB-A3FC-1A4BFA8447EC}"/>
            </ac:spMkLst>
          </pc:spChg>
        </pc:sldLayoutChg>
        <pc:sldLayoutChg chg="modSp mod">
          <pc:chgData name="van Leeuwen  Sara (VPPL)" userId="7a5f1df4-0dd0-4c9e-a72f-a035cf318af6" providerId="ADAL" clId="{7F83441C-FBEE-4352-925F-0745A21765C9}" dt="2023-09-14T16:47:16.542" v="2843"/>
          <pc:sldLayoutMkLst>
            <pc:docMk/>
            <pc:sldMasterMk cId="409606273" sldId="2147483648"/>
            <pc:sldLayoutMk cId="2252988954" sldId="2147483662"/>
          </pc:sldLayoutMkLst>
          <pc:spChg chg="mod">
            <ac:chgData name="van Leeuwen  Sara (VPPL)" userId="7a5f1df4-0dd0-4c9e-a72f-a035cf318af6" providerId="ADAL" clId="{7F83441C-FBEE-4352-925F-0745A21765C9}" dt="2023-09-14T16:47:16.542" v="2843"/>
            <ac:spMkLst>
              <pc:docMk/>
              <pc:sldMasterMk cId="409606273" sldId="2147483648"/>
              <pc:sldLayoutMk cId="2252988954" sldId="2147483662"/>
              <ac:spMk id="5" creationId="{1BC78786-28C3-4EAB-A3FC-1A4BFA8447EC}"/>
            </ac:spMkLst>
          </pc:spChg>
        </pc:sldLayoutChg>
        <pc:sldLayoutChg chg="modSp mod">
          <pc:chgData name="van Leeuwen  Sara (VPPL)" userId="7a5f1df4-0dd0-4c9e-a72f-a035cf318af6" providerId="ADAL" clId="{7F83441C-FBEE-4352-925F-0745A21765C9}" dt="2023-09-14T16:47:21.375" v="2844"/>
          <pc:sldLayoutMkLst>
            <pc:docMk/>
            <pc:sldMasterMk cId="409606273" sldId="2147483648"/>
            <pc:sldLayoutMk cId="2928661315" sldId="2147483663"/>
          </pc:sldLayoutMkLst>
          <pc:spChg chg="mod">
            <ac:chgData name="van Leeuwen  Sara (VPPL)" userId="7a5f1df4-0dd0-4c9e-a72f-a035cf318af6" providerId="ADAL" clId="{7F83441C-FBEE-4352-925F-0745A21765C9}" dt="2023-09-14T16:47:21.375" v="2844"/>
            <ac:spMkLst>
              <pc:docMk/>
              <pc:sldMasterMk cId="409606273" sldId="2147483648"/>
              <pc:sldLayoutMk cId="2928661315" sldId="2147483663"/>
              <ac:spMk id="5" creationId="{1BC78786-28C3-4EAB-A3FC-1A4BFA8447EC}"/>
            </ac:spMkLst>
          </pc:spChg>
        </pc:sldLayoutChg>
        <pc:sldLayoutChg chg="addSp delSp modSp mod">
          <pc:chgData name="van Leeuwen  Sara (VPPL)" userId="7a5f1df4-0dd0-4c9e-a72f-a035cf318af6" providerId="ADAL" clId="{7F83441C-FBEE-4352-925F-0745A21765C9}" dt="2023-09-14T16:48:44.974" v="2853"/>
          <pc:sldLayoutMkLst>
            <pc:docMk/>
            <pc:sldMasterMk cId="409606273" sldId="2147483648"/>
            <pc:sldLayoutMk cId="691335200" sldId="2147483665"/>
          </pc:sldLayoutMkLst>
          <pc:spChg chg="mod">
            <ac:chgData name="van Leeuwen  Sara (VPPL)" userId="7a5f1df4-0dd0-4c9e-a72f-a035cf318af6" providerId="ADAL" clId="{7F83441C-FBEE-4352-925F-0745A21765C9}" dt="2023-09-14T16:48:44.974" v="2853"/>
            <ac:spMkLst>
              <pc:docMk/>
              <pc:sldMasterMk cId="409606273" sldId="2147483648"/>
              <pc:sldLayoutMk cId="691335200" sldId="2147483665"/>
              <ac:spMk id="4" creationId="{00000000-0000-0000-0000-000000000000}"/>
            </ac:spMkLst>
          </pc:spChg>
          <pc:spChg chg="add del mod">
            <ac:chgData name="van Leeuwen  Sara (VPPL)" userId="7a5f1df4-0dd0-4c9e-a72f-a035cf318af6" providerId="ADAL" clId="{7F83441C-FBEE-4352-925F-0745A21765C9}" dt="2023-09-14T16:48:27.174" v="2851"/>
            <ac:spMkLst>
              <pc:docMk/>
              <pc:sldMasterMk cId="409606273" sldId="2147483648"/>
              <pc:sldLayoutMk cId="691335200" sldId="2147483665"/>
              <ac:spMk id="8" creationId="{2ED13085-678D-EC72-D0FE-9D0F0A5FF929}"/>
            </ac:spMkLst>
          </pc:spChg>
        </pc:sldLayoutChg>
        <pc:sldLayoutChg chg="modSp mod">
          <pc:chgData name="van Leeuwen  Sara (VPPL)" userId="7a5f1df4-0dd0-4c9e-a72f-a035cf318af6" providerId="ADAL" clId="{7F83441C-FBEE-4352-925F-0745A21765C9}" dt="2023-09-14T16:48:37.132" v="2852"/>
          <pc:sldLayoutMkLst>
            <pc:docMk/>
            <pc:sldMasterMk cId="409606273" sldId="2147483648"/>
            <pc:sldLayoutMk cId="39068553" sldId="2147483666"/>
          </pc:sldLayoutMkLst>
          <pc:spChg chg="mod">
            <ac:chgData name="van Leeuwen  Sara (VPPL)" userId="7a5f1df4-0dd0-4c9e-a72f-a035cf318af6" providerId="ADAL" clId="{7F83441C-FBEE-4352-925F-0745A21765C9}" dt="2023-09-14T16:48:37.132" v="2852"/>
            <ac:spMkLst>
              <pc:docMk/>
              <pc:sldMasterMk cId="409606273" sldId="2147483648"/>
              <pc:sldLayoutMk cId="39068553" sldId="2147483666"/>
              <ac:spMk id="5" creationId="{00000000-0000-0000-0000-000000000000}"/>
            </ac:spMkLst>
          </pc:spChg>
        </pc:sldLayoutChg>
        <pc:sldLayoutChg chg="modSp mod">
          <pc:chgData name="van Leeuwen  Sara (VPPL)" userId="7a5f1df4-0dd0-4c9e-a72f-a035cf318af6" providerId="ADAL" clId="{7F83441C-FBEE-4352-925F-0745A21765C9}" dt="2023-09-14T16:48:54.245" v="2854"/>
          <pc:sldLayoutMkLst>
            <pc:docMk/>
            <pc:sldMasterMk cId="409606273" sldId="2147483648"/>
            <pc:sldLayoutMk cId="2533257179" sldId="2147483668"/>
          </pc:sldLayoutMkLst>
          <pc:spChg chg="mod">
            <ac:chgData name="van Leeuwen  Sara (VPPL)" userId="7a5f1df4-0dd0-4c9e-a72f-a035cf318af6" providerId="ADAL" clId="{7F83441C-FBEE-4352-925F-0745A21765C9}" dt="2023-09-14T16:48:54.245" v="2854"/>
            <ac:spMkLst>
              <pc:docMk/>
              <pc:sldMasterMk cId="409606273" sldId="2147483648"/>
              <pc:sldLayoutMk cId="2533257179" sldId="2147483668"/>
              <ac:spMk id="5" creationId="{1BC78786-28C3-4EAB-A3FC-1A4BFA8447EC}"/>
            </ac:spMkLst>
          </pc:spChg>
        </pc:sldLayoutChg>
        <pc:sldLayoutChg chg="modSp mod">
          <pc:chgData name="van Leeuwen  Sara (VPPL)" userId="7a5f1df4-0dd0-4c9e-a72f-a035cf318af6" providerId="ADAL" clId="{7F83441C-FBEE-4352-925F-0745A21765C9}" dt="2023-09-14T16:48:58.047" v="2855"/>
          <pc:sldLayoutMkLst>
            <pc:docMk/>
            <pc:sldMasterMk cId="409606273" sldId="2147483648"/>
            <pc:sldLayoutMk cId="251652625" sldId="2147483669"/>
          </pc:sldLayoutMkLst>
          <pc:spChg chg="mod">
            <ac:chgData name="van Leeuwen  Sara (VPPL)" userId="7a5f1df4-0dd0-4c9e-a72f-a035cf318af6" providerId="ADAL" clId="{7F83441C-FBEE-4352-925F-0745A21765C9}" dt="2023-09-14T16:48:58.047" v="2855"/>
            <ac:spMkLst>
              <pc:docMk/>
              <pc:sldMasterMk cId="409606273" sldId="2147483648"/>
              <pc:sldLayoutMk cId="251652625" sldId="2147483669"/>
              <ac:spMk id="5" creationId="{1BC78786-28C3-4EAB-A3FC-1A4BFA8447EC}"/>
            </ac:spMkLst>
          </pc:spChg>
        </pc:sldLayoutChg>
        <pc:sldLayoutChg chg="modSp mod">
          <pc:chgData name="van Leeuwen  Sara (VPPL)" userId="7a5f1df4-0dd0-4c9e-a72f-a035cf318af6" providerId="ADAL" clId="{7F83441C-FBEE-4352-925F-0745A21765C9}" dt="2023-09-14T16:49:02.518" v="2856"/>
          <pc:sldLayoutMkLst>
            <pc:docMk/>
            <pc:sldMasterMk cId="409606273" sldId="2147483648"/>
            <pc:sldLayoutMk cId="870631199" sldId="2147483670"/>
          </pc:sldLayoutMkLst>
          <pc:spChg chg="mod">
            <ac:chgData name="van Leeuwen  Sara (VPPL)" userId="7a5f1df4-0dd0-4c9e-a72f-a035cf318af6" providerId="ADAL" clId="{7F83441C-FBEE-4352-925F-0745A21765C9}" dt="2023-09-14T16:49:02.518" v="2856"/>
            <ac:spMkLst>
              <pc:docMk/>
              <pc:sldMasterMk cId="409606273" sldId="2147483648"/>
              <pc:sldLayoutMk cId="870631199" sldId="2147483670"/>
              <ac:spMk id="5" creationId="{1BC78786-28C3-4EAB-A3FC-1A4BFA8447EC}"/>
            </ac:spMkLst>
          </pc:spChg>
        </pc:sldLayoutChg>
        <pc:sldLayoutChg chg="modSp mod">
          <pc:chgData name="van Leeuwen  Sara (VPPL)" userId="7a5f1df4-0dd0-4c9e-a72f-a035cf318af6" providerId="ADAL" clId="{7F83441C-FBEE-4352-925F-0745A21765C9}" dt="2023-09-14T16:49:08.005" v="2857"/>
          <pc:sldLayoutMkLst>
            <pc:docMk/>
            <pc:sldMasterMk cId="409606273" sldId="2147483648"/>
            <pc:sldLayoutMk cId="2996574597" sldId="2147483671"/>
          </pc:sldLayoutMkLst>
          <pc:spChg chg="mod">
            <ac:chgData name="van Leeuwen  Sara (VPPL)" userId="7a5f1df4-0dd0-4c9e-a72f-a035cf318af6" providerId="ADAL" clId="{7F83441C-FBEE-4352-925F-0745A21765C9}" dt="2023-09-14T16:49:08.005" v="2857"/>
            <ac:spMkLst>
              <pc:docMk/>
              <pc:sldMasterMk cId="409606273" sldId="2147483648"/>
              <pc:sldLayoutMk cId="2996574597" sldId="2147483671"/>
              <ac:spMk id="5" creationId="{1BC78786-28C3-4EAB-A3FC-1A4BFA8447EC}"/>
            </ac:spMkLst>
          </pc:spChg>
        </pc:sldLayoutChg>
        <pc:sldLayoutChg chg="modSp mod">
          <pc:chgData name="van Leeuwen  Sara (VPPL)" userId="7a5f1df4-0dd0-4c9e-a72f-a035cf318af6" providerId="ADAL" clId="{7F83441C-FBEE-4352-925F-0745A21765C9}" dt="2023-09-14T16:49:13.104" v="2858"/>
          <pc:sldLayoutMkLst>
            <pc:docMk/>
            <pc:sldMasterMk cId="409606273" sldId="2147483648"/>
            <pc:sldLayoutMk cId="3030196718" sldId="2147483672"/>
          </pc:sldLayoutMkLst>
          <pc:spChg chg="mod">
            <ac:chgData name="van Leeuwen  Sara (VPPL)" userId="7a5f1df4-0dd0-4c9e-a72f-a035cf318af6" providerId="ADAL" clId="{7F83441C-FBEE-4352-925F-0745A21765C9}" dt="2023-09-14T16:49:13.104" v="2858"/>
            <ac:spMkLst>
              <pc:docMk/>
              <pc:sldMasterMk cId="409606273" sldId="2147483648"/>
              <pc:sldLayoutMk cId="3030196718" sldId="2147483672"/>
              <ac:spMk id="5" creationId="{1BC78786-28C3-4EAB-A3FC-1A4BFA8447EC}"/>
            </ac:spMkLst>
          </pc:spChg>
        </pc:sldLayoutChg>
        <pc:sldLayoutChg chg="modSp mod">
          <pc:chgData name="van Leeuwen  Sara (VPPL)" userId="7a5f1df4-0dd0-4c9e-a72f-a035cf318af6" providerId="ADAL" clId="{7F83441C-FBEE-4352-925F-0745A21765C9}" dt="2023-09-14T16:49:17.196" v="2859"/>
          <pc:sldLayoutMkLst>
            <pc:docMk/>
            <pc:sldMasterMk cId="409606273" sldId="2147483648"/>
            <pc:sldLayoutMk cId="3016386643" sldId="2147483673"/>
          </pc:sldLayoutMkLst>
          <pc:spChg chg="mod">
            <ac:chgData name="van Leeuwen  Sara (VPPL)" userId="7a5f1df4-0dd0-4c9e-a72f-a035cf318af6" providerId="ADAL" clId="{7F83441C-FBEE-4352-925F-0745A21765C9}" dt="2023-09-14T16:49:17.196" v="2859"/>
            <ac:spMkLst>
              <pc:docMk/>
              <pc:sldMasterMk cId="409606273" sldId="2147483648"/>
              <pc:sldLayoutMk cId="3016386643" sldId="2147483673"/>
              <ac:spMk id="5" creationId="{1BC78786-28C3-4EAB-A3FC-1A4BFA8447EC}"/>
            </ac:spMkLst>
          </pc:spChg>
        </pc:sldLayoutChg>
        <pc:sldLayoutChg chg="modSp mod">
          <pc:chgData name="van Leeuwen  Sara (VPPL)" userId="7a5f1df4-0dd0-4c9e-a72f-a035cf318af6" providerId="ADAL" clId="{7F83441C-FBEE-4352-925F-0745A21765C9}" dt="2023-09-14T16:49:22.244" v="2860"/>
          <pc:sldLayoutMkLst>
            <pc:docMk/>
            <pc:sldMasterMk cId="409606273" sldId="2147483648"/>
            <pc:sldLayoutMk cId="2955461353" sldId="2147483674"/>
          </pc:sldLayoutMkLst>
          <pc:spChg chg="mod">
            <ac:chgData name="van Leeuwen  Sara (VPPL)" userId="7a5f1df4-0dd0-4c9e-a72f-a035cf318af6" providerId="ADAL" clId="{7F83441C-FBEE-4352-925F-0745A21765C9}" dt="2023-09-14T16:49:22.244" v="2860"/>
            <ac:spMkLst>
              <pc:docMk/>
              <pc:sldMasterMk cId="409606273" sldId="2147483648"/>
              <pc:sldLayoutMk cId="2955461353" sldId="2147483674"/>
              <ac:spMk id="5" creationId="{1BC78786-28C3-4EAB-A3FC-1A4BFA8447EC}"/>
            </ac:spMkLst>
          </pc:spChg>
        </pc:sldLayoutChg>
        <pc:sldLayoutChg chg="modSp mod">
          <pc:chgData name="van Leeuwen  Sara (VPPL)" userId="7a5f1df4-0dd0-4c9e-a72f-a035cf318af6" providerId="ADAL" clId="{7F83441C-FBEE-4352-925F-0745A21765C9}" dt="2023-09-14T16:49:26.769" v="2861"/>
          <pc:sldLayoutMkLst>
            <pc:docMk/>
            <pc:sldMasterMk cId="409606273" sldId="2147483648"/>
            <pc:sldLayoutMk cId="2096750995" sldId="2147483675"/>
          </pc:sldLayoutMkLst>
          <pc:spChg chg="mod">
            <ac:chgData name="van Leeuwen  Sara (VPPL)" userId="7a5f1df4-0dd0-4c9e-a72f-a035cf318af6" providerId="ADAL" clId="{7F83441C-FBEE-4352-925F-0745A21765C9}" dt="2023-09-14T16:49:26.769" v="2861"/>
            <ac:spMkLst>
              <pc:docMk/>
              <pc:sldMasterMk cId="409606273" sldId="2147483648"/>
              <pc:sldLayoutMk cId="2096750995" sldId="2147483675"/>
              <ac:spMk id="5" creationId="{1BC78786-28C3-4EAB-A3FC-1A4BFA8447EC}"/>
            </ac:spMkLst>
          </pc:spChg>
        </pc:sldLayoutChg>
      </pc:sldMasterChg>
    </pc:docChg>
  </pc:docChgLst>
  <pc:docChgLst>
    <pc:chgData name="van Leeuwen  Sara (VPPL)" userId="7a5f1df4-0dd0-4c9e-a72f-a035cf318af6" providerId="ADAL" clId="{AAA37DE2-93D3-44F8-BE87-C19EC6771CD3}"/>
    <pc:docChg chg="undo redo custSel addSld delSld modSld sldOrd modMainMaster modSection replTag modNotesMaster">
      <pc:chgData name="van Leeuwen  Sara (VPPL)" userId="7a5f1df4-0dd0-4c9e-a72f-a035cf318af6" providerId="ADAL" clId="{AAA37DE2-93D3-44F8-BE87-C19EC6771CD3}" dt="2023-09-21T09:45:13.436" v="17447" actId="1036"/>
      <pc:docMkLst>
        <pc:docMk/>
      </pc:docMkLst>
      <pc:sldChg chg="addSp delSp modSp add del mod modNotes">
        <pc:chgData name="van Leeuwen  Sara (VPPL)" userId="7a5f1df4-0dd0-4c9e-a72f-a035cf318af6" providerId="ADAL" clId="{AAA37DE2-93D3-44F8-BE87-C19EC6771CD3}" dt="2023-09-21T08:01:08.316" v="15416"/>
        <pc:sldMkLst>
          <pc:docMk/>
          <pc:sldMk cId="3227777584" sldId="422"/>
        </pc:sldMkLst>
        <pc:spChg chg="mod">
          <ac:chgData name="van Leeuwen  Sara (VPPL)" userId="7a5f1df4-0dd0-4c9e-a72f-a035cf318af6" providerId="ADAL" clId="{AAA37DE2-93D3-44F8-BE87-C19EC6771CD3}" dt="2023-09-21T08:01:07.622" v="13399" actId="948"/>
          <ac:spMkLst>
            <pc:docMk/>
            <pc:sldMk cId="3227777584" sldId="422"/>
            <ac:spMk id="2" creationId="{FC65B3EF-08EF-432C-BEBF-CB2B499FB533}"/>
          </ac:spMkLst>
        </pc:spChg>
        <pc:spChg chg="mod">
          <ac:chgData name="van Leeuwen  Sara (VPPL)" userId="7a5f1df4-0dd0-4c9e-a72f-a035cf318af6" providerId="ADAL" clId="{AAA37DE2-93D3-44F8-BE87-C19EC6771CD3}" dt="2023-09-21T07:58:43.571" v="4386" actId="947"/>
          <ac:spMkLst>
            <pc:docMk/>
            <pc:sldMk cId="3227777584" sldId="422"/>
            <ac:spMk id="3" creationId="{D248A836-D270-48AC-93BC-E789F2E8E734}"/>
          </ac:spMkLst>
        </pc:spChg>
        <pc:spChg chg="mod">
          <ac:chgData name="van Leeuwen  Sara (VPPL)" userId="7a5f1df4-0dd0-4c9e-a72f-a035cf318af6" providerId="ADAL" clId="{AAA37DE2-93D3-44F8-BE87-C19EC6771CD3}" dt="2023-09-21T07:58:43.587" v="4388" actId="947"/>
          <ac:spMkLst>
            <pc:docMk/>
            <pc:sldMk cId="3227777584" sldId="422"/>
            <ac:spMk id="4" creationId="{305442D0-14ED-4C2A-A91B-14866EB77D60}"/>
          </ac:spMkLst>
        </pc:spChg>
        <pc:spChg chg="mod">
          <ac:chgData name="van Leeuwen  Sara (VPPL)" userId="7a5f1df4-0dd0-4c9e-a72f-a035cf318af6" providerId="ADAL" clId="{AAA37DE2-93D3-44F8-BE87-C19EC6771CD3}" dt="2023-09-21T08:01:07.315" v="12207" actId="790"/>
          <ac:spMkLst>
            <pc:docMk/>
            <pc:sldMk cId="3227777584" sldId="422"/>
            <ac:spMk id="5" creationId="{B057CD9C-7E82-4EE5-8D4A-CF1F831FF9E4}"/>
          </ac:spMkLst>
        </pc:spChg>
        <pc:spChg chg="mod">
          <ac:chgData name="van Leeuwen  Sara (VPPL)" userId="7a5f1df4-0dd0-4c9e-a72f-a035cf318af6" providerId="ADAL" clId="{AAA37DE2-93D3-44F8-BE87-C19EC6771CD3}" dt="2023-09-21T07:58:43.587" v="4392" actId="947"/>
          <ac:spMkLst>
            <pc:docMk/>
            <pc:sldMk cId="3227777584" sldId="422"/>
            <ac:spMk id="6" creationId="{727CB4E9-0DB2-4603-A8AD-72263838A1CA}"/>
          </ac:spMkLst>
        </pc:spChg>
        <pc:spChg chg="add del mod modVis">
          <ac:chgData name="van Leeuwen  Sara (VPPL)" userId="7a5f1df4-0dd0-4c9e-a72f-a035cf318af6" providerId="ADAL" clId="{AAA37DE2-93D3-44F8-BE87-C19EC6771CD3}" dt="2023-09-21T08:01:08.115" v="15229" actId="478"/>
          <ac:spMkLst>
            <pc:docMk/>
            <pc:sldMk cId="3227777584" sldId="422"/>
            <ac:spMk id="7" creationId="{6BA4EF55-7CB8-B464-6433-9623013C5F4F}"/>
          </ac:spMkLst>
        </pc:spChg>
        <pc:spChg chg="mod">
          <ac:chgData name="van Leeuwen  Sara (VPPL)" userId="7a5f1df4-0dd0-4c9e-a72f-a035cf318af6" providerId="ADAL" clId="{AAA37DE2-93D3-44F8-BE87-C19EC6771CD3}" dt="2023-09-21T07:58:43.587" v="4394" actId="947"/>
          <ac:spMkLst>
            <pc:docMk/>
            <pc:sldMk cId="3227777584" sldId="422"/>
            <ac:spMk id="13" creationId="{53D2063C-9ED4-498A-AE70-37A043831FA0}"/>
          </ac:spMkLst>
        </pc:spChg>
        <pc:graphicFrameChg chg="mod">
          <ac:chgData name="van Leeuwen  Sara (VPPL)" userId="7a5f1df4-0dd0-4c9e-a72f-a035cf318af6" providerId="ADAL" clId="{AAA37DE2-93D3-44F8-BE87-C19EC6771CD3}" dt="2023-09-21T08:01:08.316" v="15416"/>
          <ac:graphicFrameMkLst>
            <pc:docMk/>
            <pc:sldMk cId="3227777584" sldId="422"/>
            <ac:graphicFrameMk id="9" creationId="{99C7040E-B05F-1FC8-1864-7EE431F9FC9E}"/>
          </ac:graphicFrameMkLst>
        </pc:graphicFrameChg>
      </pc:sldChg>
      <pc:sldChg chg="add del">
        <pc:chgData name="van Leeuwen  Sara (VPPL)" userId="7a5f1df4-0dd0-4c9e-a72f-a035cf318af6" providerId="ADAL" clId="{AAA37DE2-93D3-44F8-BE87-C19EC6771CD3}" dt="2023-09-20T13:47:39.509" v="2053" actId="47"/>
        <pc:sldMkLst>
          <pc:docMk/>
          <pc:sldMk cId="462350290" sldId="441"/>
        </pc:sldMkLst>
      </pc:sldChg>
      <pc:sldChg chg="addSp delSp modSp mod modNotes">
        <pc:chgData name="van Leeuwen  Sara (VPPL)" userId="7a5f1df4-0dd0-4c9e-a72f-a035cf318af6" providerId="ADAL" clId="{AAA37DE2-93D3-44F8-BE87-C19EC6771CD3}" dt="2023-09-21T08:01:08.376" v="15450"/>
        <pc:sldMkLst>
          <pc:docMk/>
          <pc:sldMk cId="286829603" sldId="2339"/>
        </pc:sldMkLst>
        <pc:spChg chg="mod">
          <ac:chgData name="van Leeuwen  Sara (VPPL)" userId="7a5f1df4-0dd0-4c9e-a72f-a035cf318af6" providerId="ADAL" clId="{AAA37DE2-93D3-44F8-BE87-C19EC6771CD3}" dt="2023-09-21T08:01:08.047" v="14956" actId="948"/>
          <ac:spMkLst>
            <pc:docMk/>
            <pc:sldMk cId="286829603" sldId="2339"/>
            <ac:spMk id="2" creationId="{00000000-0000-0000-0000-000000000000}"/>
          </ac:spMkLst>
        </pc:spChg>
        <pc:spChg chg="add del mod modVis">
          <ac:chgData name="van Leeuwen  Sara (VPPL)" userId="7a5f1df4-0dd0-4c9e-a72f-a035cf318af6" providerId="ADAL" clId="{AAA37DE2-93D3-44F8-BE87-C19EC6771CD3}" dt="2023-09-21T08:01:08.141" v="15319" actId="478"/>
          <ac:spMkLst>
            <pc:docMk/>
            <pc:sldMk cId="286829603" sldId="2339"/>
            <ac:spMk id="3" creationId="{DEC6A7DE-10D6-2A2D-DDC0-3BC5545ECD7B}"/>
          </ac:spMkLst>
        </pc:spChg>
        <pc:spChg chg="mod">
          <ac:chgData name="van Leeuwen  Sara (VPPL)" userId="7a5f1df4-0dd0-4c9e-a72f-a035cf318af6" providerId="ADAL" clId="{AAA37DE2-93D3-44F8-BE87-C19EC6771CD3}" dt="2023-09-21T07:58:43.439" v="4180" actId="947"/>
          <ac:spMkLst>
            <pc:docMk/>
            <pc:sldMk cId="286829603" sldId="2339"/>
            <ac:spMk id="4" creationId="{00000000-0000-0000-0000-000000000000}"/>
          </ac:spMkLst>
        </pc:spChg>
        <pc:spChg chg="mod">
          <ac:chgData name="van Leeuwen  Sara (VPPL)" userId="7a5f1df4-0dd0-4c9e-a72f-a035cf318af6" providerId="ADAL" clId="{AAA37DE2-93D3-44F8-BE87-C19EC6771CD3}" dt="2023-09-21T07:58:43.444" v="4184" actId="947"/>
          <ac:spMkLst>
            <pc:docMk/>
            <pc:sldMk cId="286829603" sldId="2339"/>
            <ac:spMk id="6" creationId="{00000000-0000-0000-0000-000000000000}"/>
          </ac:spMkLst>
        </pc:spChg>
        <pc:spChg chg="mod">
          <ac:chgData name="van Leeuwen  Sara (VPPL)" userId="7a5f1df4-0dd0-4c9e-a72f-a035cf318af6" providerId="ADAL" clId="{AAA37DE2-93D3-44F8-BE87-C19EC6771CD3}" dt="2023-09-21T07:58:43.460" v="4216" actId="947"/>
          <ac:spMkLst>
            <pc:docMk/>
            <pc:sldMk cId="286829603" sldId="2339"/>
            <ac:spMk id="7" creationId="{7569C4AA-99FC-1B98-B5A8-E2E34D251296}"/>
          </ac:spMkLst>
        </pc:spChg>
        <pc:spChg chg="mod">
          <ac:chgData name="van Leeuwen  Sara (VPPL)" userId="7a5f1df4-0dd0-4c9e-a72f-a035cf318af6" providerId="ADAL" clId="{AAA37DE2-93D3-44F8-BE87-C19EC6771CD3}" dt="2023-09-21T07:58:43.460" v="4210" actId="947"/>
          <ac:spMkLst>
            <pc:docMk/>
            <pc:sldMk cId="286829603" sldId="2339"/>
            <ac:spMk id="8" creationId="{00000000-0000-0000-0000-000000000000}"/>
          </ac:spMkLst>
        </pc:spChg>
        <pc:spChg chg="mod">
          <ac:chgData name="van Leeuwen  Sara (VPPL)" userId="7a5f1df4-0dd0-4c9e-a72f-a035cf318af6" providerId="ADAL" clId="{AAA37DE2-93D3-44F8-BE87-C19EC6771CD3}" dt="2023-09-21T08:01:07.275" v="12015" actId="790"/>
          <ac:spMkLst>
            <pc:docMk/>
            <pc:sldMk cId="286829603" sldId="2339"/>
            <ac:spMk id="9" creationId="{00000000-0000-0000-0000-000000000000}"/>
          </ac:spMkLst>
        </pc:spChg>
        <pc:spChg chg="mod">
          <ac:chgData name="van Leeuwen  Sara (VPPL)" userId="7a5f1df4-0dd0-4c9e-a72f-a035cf318af6" providerId="ADAL" clId="{AAA37DE2-93D3-44F8-BE87-C19EC6771CD3}" dt="2023-09-21T08:01:07.291" v="12038" actId="20577"/>
          <ac:spMkLst>
            <pc:docMk/>
            <pc:sldMk cId="286829603" sldId="2339"/>
            <ac:spMk id="10" creationId="{6F41AF3B-302E-E75F-BA20-A8FFB5A1C173}"/>
          </ac:spMkLst>
        </pc:spChg>
        <pc:spChg chg="mod">
          <ac:chgData name="van Leeuwen  Sara (VPPL)" userId="7a5f1df4-0dd0-4c9e-a72f-a035cf318af6" providerId="ADAL" clId="{AAA37DE2-93D3-44F8-BE87-C19EC6771CD3}" dt="2023-09-21T08:01:07.275" v="12010" actId="20577"/>
          <ac:spMkLst>
            <pc:docMk/>
            <pc:sldMk cId="286829603" sldId="2339"/>
            <ac:spMk id="11" creationId="{00000000-0000-0000-0000-000000000000}"/>
          </ac:spMkLst>
        </pc:spChg>
        <pc:spChg chg="mod">
          <ac:chgData name="van Leeuwen  Sara (VPPL)" userId="7a5f1df4-0dd0-4c9e-a72f-a035cf318af6" providerId="ADAL" clId="{AAA37DE2-93D3-44F8-BE87-C19EC6771CD3}" dt="2023-09-21T08:01:07.291" v="12042" actId="20577"/>
          <ac:spMkLst>
            <pc:docMk/>
            <pc:sldMk cId="286829603" sldId="2339"/>
            <ac:spMk id="13" creationId="{A2DA63D0-DB52-889F-2F2B-517DEC88A825}"/>
          </ac:spMkLst>
        </pc:spChg>
        <pc:spChg chg="mod">
          <ac:chgData name="van Leeuwen  Sara (VPPL)" userId="7a5f1df4-0dd0-4c9e-a72f-a035cf318af6" providerId="ADAL" clId="{AAA37DE2-93D3-44F8-BE87-C19EC6771CD3}" dt="2023-09-21T08:01:07.291" v="12046" actId="20577"/>
          <ac:spMkLst>
            <pc:docMk/>
            <pc:sldMk cId="286829603" sldId="2339"/>
            <ac:spMk id="14" creationId="{377CF0BC-CB95-8F98-6CEB-5CFEF27F7257}"/>
          </ac:spMkLst>
        </pc:spChg>
        <pc:spChg chg="mod">
          <ac:chgData name="van Leeuwen  Sara (VPPL)" userId="7a5f1df4-0dd0-4c9e-a72f-a035cf318af6" providerId="ADAL" clId="{AAA37DE2-93D3-44F8-BE87-C19EC6771CD3}" dt="2023-09-21T08:01:07.291" v="12047" actId="790"/>
          <ac:spMkLst>
            <pc:docMk/>
            <pc:sldMk cId="286829603" sldId="2339"/>
            <ac:spMk id="15" creationId="{156683EB-D727-AEEC-79F5-8D0E4AB20A6B}"/>
          </ac:spMkLst>
        </pc:spChg>
        <pc:spChg chg="mod">
          <ac:chgData name="van Leeuwen  Sara (VPPL)" userId="7a5f1df4-0dd0-4c9e-a72f-a035cf318af6" providerId="ADAL" clId="{AAA37DE2-93D3-44F8-BE87-C19EC6771CD3}" dt="2023-09-21T08:01:07.291" v="12049" actId="790"/>
          <ac:spMkLst>
            <pc:docMk/>
            <pc:sldMk cId="286829603" sldId="2339"/>
            <ac:spMk id="16" creationId="{FBA74DE1-7D88-9CC3-2F7B-6033EA6114E0}"/>
          </ac:spMkLst>
        </pc:spChg>
        <pc:spChg chg="mod">
          <ac:chgData name="van Leeuwen  Sara (VPPL)" userId="7a5f1df4-0dd0-4c9e-a72f-a035cf318af6" providerId="ADAL" clId="{AAA37DE2-93D3-44F8-BE87-C19EC6771CD3}" dt="2023-09-21T08:01:07.291" v="12051" actId="790"/>
          <ac:spMkLst>
            <pc:docMk/>
            <pc:sldMk cId="286829603" sldId="2339"/>
            <ac:spMk id="17" creationId="{996C98F5-E864-5923-1607-1B96A5319F95}"/>
          </ac:spMkLst>
        </pc:spChg>
        <pc:spChg chg="mod">
          <ac:chgData name="van Leeuwen  Sara (VPPL)" userId="7a5f1df4-0dd0-4c9e-a72f-a035cf318af6" providerId="ADAL" clId="{AAA37DE2-93D3-44F8-BE87-C19EC6771CD3}" dt="2023-09-21T08:01:07.291" v="12056" actId="20577"/>
          <ac:spMkLst>
            <pc:docMk/>
            <pc:sldMk cId="286829603" sldId="2339"/>
            <ac:spMk id="22" creationId="{69BA734D-73D9-0E42-16FF-9A16E9A0AA7F}"/>
          </ac:spMkLst>
        </pc:spChg>
        <pc:spChg chg="mod">
          <ac:chgData name="van Leeuwen  Sara (VPPL)" userId="7a5f1df4-0dd0-4c9e-a72f-a035cf318af6" providerId="ADAL" clId="{AAA37DE2-93D3-44F8-BE87-C19EC6771CD3}" dt="2023-09-21T07:58:43.476" v="4240" actId="947"/>
          <ac:spMkLst>
            <pc:docMk/>
            <pc:sldMk cId="286829603" sldId="2339"/>
            <ac:spMk id="24" creationId="{04289C6E-1199-0B99-D163-4CD3620BC9E0}"/>
          </ac:spMkLst>
        </pc:spChg>
        <pc:spChg chg="mod">
          <ac:chgData name="van Leeuwen  Sara (VPPL)" userId="7a5f1df4-0dd0-4c9e-a72f-a035cf318af6" providerId="ADAL" clId="{AAA37DE2-93D3-44F8-BE87-C19EC6771CD3}" dt="2023-09-21T07:58:43.460" v="4212" actId="947"/>
          <ac:spMkLst>
            <pc:docMk/>
            <pc:sldMk cId="286829603" sldId="2339"/>
            <ac:spMk id="27" creationId="{00000000-0000-0000-0000-000000000000}"/>
          </ac:spMkLst>
        </pc:spChg>
        <pc:spChg chg="mod">
          <ac:chgData name="van Leeuwen  Sara (VPPL)" userId="7a5f1df4-0dd0-4c9e-a72f-a035cf318af6" providerId="ADAL" clId="{AAA37DE2-93D3-44F8-BE87-C19EC6771CD3}" dt="2023-09-21T07:58:43.460" v="4214" actId="947"/>
          <ac:spMkLst>
            <pc:docMk/>
            <pc:sldMk cId="286829603" sldId="2339"/>
            <ac:spMk id="28" creationId="{00000000-0000-0000-0000-000000000000}"/>
          </ac:spMkLst>
        </pc:spChg>
        <pc:spChg chg="mod">
          <ac:chgData name="van Leeuwen  Sara (VPPL)" userId="7a5f1df4-0dd0-4c9e-a72f-a035cf318af6" providerId="ADAL" clId="{AAA37DE2-93D3-44F8-BE87-C19EC6771CD3}" dt="2023-09-21T08:01:07.291" v="12062" actId="20577"/>
          <ac:spMkLst>
            <pc:docMk/>
            <pc:sldMk cId="286829603" sldId="2339"/>
            <ac:spMk id="31" creationId="{90D245A3-6547-A8A7-9132-8A0860FFBF90}"/>
          </ac:spMkLst>
        </pc:spChg>
        <pc:spChg chg="mod">
          <ac:chgData name="van Leeuwen  Sara (VPPL)" userId="7a5f1df4-0dd0-4c9e-a72f-a035cf318af6" providerId="ADAL" clId="{AAA37DE2-93D3-44F8-BE87-C19EC6771CD3}" dt="2023-09-21T08:01:07.275" v="11999" actId="790"/>
          <ac:spMkLst>
            <pc:docMk/>
            <pc:sldMk cId="286829603" sldId="2339"/>
            <ac:spMk id="32" creationId="{D75AFB06-C0D5-C44A-AFA0-9276A7192873}"/>
          </ac:spMkLst>
        </pc:spChg>
        <pc:spChg chg="mod">
          <ac:chgData name="van Leeuwen  Sara (VPPL)" userId="7a5f1df4-0dd0-4c9e-a72f-a035cf318af6" providerId="ADAL" clId="{AAA37DE2-93D3-44F8-BE87-C19EC6771CD3}" dt="2023-09-21T07:58:43.476" v="4246" actId="947"/>
          <ac:spMkLst>
            <pc:docMk/>
            <pc:sldMk cId="286829603" sldId="2339"/>
            <ac:spMk id="33" creationId="{282627BB-A3F0-27F3-9756-6AFD3AD87099}"/>
          </ac:spMkLst>
        </pc:spChg>
        <pc:spChg chg="mod">
          <ac:chgData name="van Leeuwen  Sara (VPPL)" userId="7a5f1df4-0dd0-4c9e-a72f-a035cf318af6" providerId="ADAL" clId="{AAA37DE2-93D3-44F8-BE87-C19EC6771CD3}" dt="2023-09-21T07:58:43.476" v="4248" actId="947"/>
          <ac:spMkLst>
            <pc:docMk/>
            <pc:sldMk cId="286829603" sldId="2339"/>
            <ac:spMk id="34" creationId="{29B16004-A9CF-6D1F-3737-102F15FFE287}"/>
          </ac:spMkLst>
        </pc:spChg>
        <pc:spChg chg="mod">
          <ac:chgData name="van Leeuwen  Sara (VPPL)" userId="7a5f1df4-0dd0-4c9e-a72f-a035cf318af6" providerId="ADAL" clId="{AAA37DE2-93D3-44F8-BE87-C19EC6771CD3}" dt="2023-09-21T07:58:43.476" v="4250" actId="947"/>
          <ac:spMkLst>
            <pc:docMk/>
            <pc:sldMk cId="286829603" sldId="2339"/>
            <ac:spMk id="35" creationId="{25414BE8-4E73-27A2-3FFA-CFBF3946F190}"/>
          </ac:spMkLst>
        </pc:spChg>
        <pc:spChg chg="mod">
          <ac:chgData name="van Leeuwen  Sara (VPPL)" userId="7a5f1df4-0dd0-4c9e-a72f-a035cf318af6" providerId="ADAL" clId="{AAA37DE2-93D3-44F8-BE87-C19EC6771CD3}" dt="2023-09-21T08:01:07.291" v="12024" actId="20577"/>
          <ac:spMkLst>
            <pc:docMk/>
            <pc:sldMk cId="286829603" sldId="2339"/>
            <ac:spMk id="37" creationId="{00000000-0000-0000-0000-000000000000}"/>
          </ac:spMkLst>
        </pc:spChg>
        <pc:spChg chg="mod">
          <ac:chgData name="van Leeuwen  Sara (VPPL)" userId="7a5f1df4-0dd0-4c9e-a72f-a035cf318af6" providerId="ADAL" clId="{AAA37DE2-93D3-44F8-BE87-C19EC6771CD3}" dt="2023-09-21T07:58:43.460" v="4208" actId="947"/>
          <ac:spMkLst>
            <pc:docMk/>
            <pc:sldMk cId="286829603" sldId="2339"/>
            <ac:spMk id="38" creationId="{00000000-0000-0000-0000-000000000000}"/>
          </ac:spMkLst>
        </pc:spChg>
        <pc:spChg chg="mod">
          <ac:chgData name="van Leeuwen  Sara (VPPL)" userId="7a5f1df4-0dd0-4c9e-a72f-a035cf318af6" providerId="ADAL" clId="{AAA37DE2-93D3-44F8-BE87-C19EC6771CD3}" dt="2023-09-21T08:01:07.275" v="12006" actId="20577"/>
          <ac:spMkLst>
            <pc:docMk/>
            <pc:sldMk cId="286829603" sldId="2339"/>
            <ac:spMk id="47" creationId="{00000000-0000-0000-0000-000000000000}"/>
          </ac:spMkLst>
        </pc:spChg>
        <pc:spChg chg="mod">
          <ac:chgData name="van Leeuwen  Sara (VPPL)" userId="7a5f1df4-0dd0-4c9e-a72f-a035cf318af6" providerId="ADAL" clId="{AAA37DE2-93D3-44F8-BE87-C19EC6771CD3}" dt="2023-09-21T08:01:07.275" v="12017" actId="790"/>
          <ac:spMkLst>
            <pc:docMk/>
            <pc:sldMk cId="286829603" sldId="2339"/>
            <ac:spMk id="48" creationId="{00000000-0000-0000-0000-000000000000}"/>
          </ac:spMkLst>
        </pc:spChg>
        <pc:spChg chg="mod">
          <ac:chgData name="van Leeuwen  Sara (VPPL)" userId="7a5f1df4-0dd0-4c9e-a72f-a035cf318af6" providerId="ADAL" clId="{AAA37DE2-93D3-44F8-BE87-C19EC6771CD3}" dt="2023-09-21T08:01:07.291" v="12019" actId="790"/>
          <ac:spMkLst>
            <pc:docMk/>
            <pc:sldMk cId="286829603" sldId="2339"/>
            <ac:spMk id="50" creationId="{00000000-0000-0000-0000-000000000000}"/>
          </ac:spMkLst>
        </pc:spChg>
        <pc:spChg chg="mod">
          <ac:chgData name="van Leeuwen  Sara (VPPL)" userId="7a5f1df4-0dd0-4c9e-a72f-a035cf318af6" providerId="ADAL" clId="{AAA37DE2-93D3-44F8-BE87-C19EC6771CD3}" dt="2023-09-21T08:01:07.275" v="12014" actId="20577"/>
          <ac:spMkLst>
            <pc:docMk/>
            <pc:sldMk cId="286829603" sldId="2339"/>
            <ac:spMk id="51" creationId="{00000000-0000-0000-0000-000000000000}"/>
          </ac:spMkLst>
        </pc:spChg>
        <pc:graphicFrameChg chg="mod">
          <ac:chgData name="van Leeuwen  Sara (VPPL)" userId="7a5f1df4-0dd0-4c9e-a72f-a035cf318af6" providerId="ADAL" clId="{AAA37DE2-93D3-44F8-BE87-C19EC6771CD3}" dt="2023-09-21T08:01:08.376" v="15450"/>
          <ac:graphicFrameMkLst>
            <pc:docMk/>
            <pc:sldMk cId="286829603" sldId="2339"/>
            <ac:graphicFrameMk id="5" creationId="{3C5E4746-44C5-4447-25BC-7C75BCB67ADF}"/>
          </ac:graphicFrameMkLst>
        </pc:graphicFrameChg>
      </pc:sldChg>
      <pc:sldChg chg="addSp delSp modSp add del mod modNotes">
        <pc:chgData name="van Leeuwen  Sara (VPPL)" userId="7a5f1df4-0dd0-4c9e-a72f-a035cf318af6" providerId="ADAL" clId="{AAA37DE2-93D3-44F8-BE87-C19EC6771CD3}" dt="2023-09-21T09:10:14.981" v="17069" actId="47"/>
        <pc:sldMkLst>
          <pc:docMk/>
          <pc:sldMk cId="3031542448" sldId="2347"/>
        </pc:sldMkLst>
        <pc:spChg chg="mod">
          <ac:chgData name="van Leeuwen  Sara (VPPL)" userId="7a5f1df4-0dd0-4c9e-a72f-a035cf318af6" providerId="ADAL" clId="{AAA37DE2-93D3-44F8-BE87-C19EC6771CD3}" dt="2023-09-21T08:01:08.015" v="14797" actId="948"/>
          <ac:spMkLst>
            <pc:docMk/>
            <pc:sldMk cId="3031542448" sldId="2347"/>
            <ac:spMk id="2" creationId="{B6F42680-8180-3F42-9274-11501EB13FF7}"/>
          </ac:spMkLst>
        </pc:spChg>
        <pc:spChg chg="add del mod modVis">
          <ac:chgData name="van Leeuwen  Sara (VPPL)" userId="7a5f1df4-0dd0-4c9e-a72f-a035cf318af6" providerId="ADAL" clId="{AAA37DE2-93D3-44F8-BE87-C19EC6771CD3}" dt="2023-09-21T08:01:08.141" v="15310" actId="478"/>
          <ac:spMkLst>
            <pc:docMk/>
            <pc:sldMk cId="3031542448" sldId="2347"/>
            <ac:spMk id="3" creationId="{834DF131-681A-3CA9-8581-D3425A296894}"/>
          </ac:spMkLst>
        </pc:spChg>
        <pc:spChg chg="mod">
          <ac:chgData name="van Leeuwen  Sara (VPPL)" userId="7a5f1df4-0dd0-4c9e-a72f-a035cf318af6" providerId="ADAL" clId="{AAA37DE2-93D3-44F8-BE87-C19EC6771CD3}" dt="2023-09-21T07:58:43.279" v="4096" actId="947"/>
          <ac:spMkLst>
            <pc:docMk/>
            <pc:sldMk cId="3031542448" sldId="2347"/>
            <ac:spMk id="4" creationId="{EBAB4C94-6F8B-8941-836F-612B4190552C}"/>
          </ac:spMkLst>
        </pc:spChg>
        <pc:spChg chg="mod">
          <ac:chgData name="van Leeuwen  Sara (VPPL)" userId="7a5f1df4-0dd0-4c9e-a72f-a035cf318af6" providerId="ADAL" clId="{AAA37DE2-93D3-44F8-BE87-C19EC6771CD3}" dt="2023-09-21T07:58:43.286" v="4100" actId="947"/>
          <ac:spMkLst>
            <pc:docMk/>
            <pc:sldMk cId="3031542448" sldId="2347"/>
            <ac:spMk id="6" creationId="{55BF4CB2-5EDC-9047-89E8-16FE54A65069}"/>
          </ac:spMkLst>
        </pc:spChg>
        <pc:spChg chg="mod">
          <ac:chgData name="van Leeuwen  Sara (VPPL)" userId="7a5f1df4-0dd0-4c9e-a72f-a035cf318af6" providerId="ADAL" clId="{AAA37DE2-93D3-44F8-BE87-C19EC6771CD3}" dt="2023-09-21T07:58:43.302" v="4102" actId="947"/>
          <ac:spMkLst>
            <pc:docMk/>
            <pc:sldMk cId="3031542448" sldId="2347"/>
            <ac:spMk id="7" creationId="{00000000-0000-0000-0000-000000000000}"/>
          </ac:spMkLst>
        </pc:spChg>
        <pc:spChg chg="mod">
          <ac:chgData name="van Leeuwen  Sara (VPPL)" userId="7a5f1df4-0dd0-4c9e-a72f-a035cf318af6" providerId="ADAL" clId="{AAA37DE2-93D3-44F8-BE87-C19EC6771CD3}" dt="2023-09-21T08:01:07.244" v="11915" actId="790"/>
          <ac:spMkLst>
            <pc:docMk/>
            <pc:sldMk cId="3031542448" sldId="2347"/>
            <ac:spMk id="9" creationId="{D75AFB06-C0D5-C44A-AFA0-9276A7192873}"/>
          </ac:spMkLst>
        </pc:spChg>
        <pc:spChg chg="mod">
          <ac:chgData name="van Leeuwen  Sara (VPPL)" userId="7a5f1df4-0dd0-4c9e-a72f-a035cf318af6" providerId="ADAL" clId="{AAA37DE2-93D3-44F8-BE87-C19EC6771CD3}" dt="2023-09-21T07:58:43.302" v="4106" actId="947"/>
          <ac:spMkLst>
            <pc:docMk/>
            <pc:sldMk cId="3031542448" sldId="2347"/>
            <ac:spMk id="10" creationId="{00000000-0000-0000-0000-000000000000}"/>
          </ac:spMkLst>
        </pc:spChg>
        <pc:spChg chg="mod">
          <ac:chgData name="van Leeuwen  Sara (VPPL)" userId="7a5f1df4-0dd0-4c9e-a72f-a035cf318af6" providerId="ADAL" clId="{AAA37DE2-93D3-44F8-BE87-C19EC6771CD3}" dt="2023-09-21T07:58:43.302" v="4104" actId="947"/>
          <ac:spMkLst>
            <pc:docMk/>
            <pc:sldMk cId="3031542448" sldId="2347"/>
            <ac:spMk id="11" creationId="{00000000-0000-0000-0000-000000000000}"/>
          </ac:spMkLst>
        </pc:spChg>
        <pc:spChg chg="mod">
          <ac:chgData name="van Leeuwen  Sara (VPPL)" userId="7a5f1df4-0dd0-4c9e-a72f-a035cf318af6" providerId="ADAL" clId="{AAA37DE2-93D3-44F8-BE87-C19EC6771CD3}" dt="2023-09-21T07:58:43.302" v="4108" actId="947"/>
          <ac:spMkLst>
            <pc:docMk/>
            <pc:sldMk cId="3031542448" sldId="2347"/>
            <ac:spMk id="13" creationId="{02DD59B6-D37A-45CE-8D3E-6528E6FC6B84}"/>
          </ac:spMkLst>
        </pc:spChg>
        <pc:graphicFrameChg chg="mod">
          <ac:chgData name="van Leeuwen  Sara (VPPL)" userId="7a5f1df4-0dd0-4c9e-a72f-a035cf318af6" providerId="ADAL" clId="{AAA37DE2-93D3-44F8-BE87-C19EC6771CD3}" dt="2023-09-21T08:01:08.360" v="15440"/>
          <ac:graphicFrameMkLst>
            <pc:docMk/>
            <pc:sldMk cId="3031542448" sldId="2347"/>
            <ac:graphicFrameMk id="5" creationId="{614A9DA2-E9C8-8BD2-077E-5D2F54FFD561}"/>
          </ac:graphicFrameMkLst>
        </pc:graphicFrameChg>
      </pc:sldChg>
      <pc:sldChg chg="addSp delSp modSp mod modNotes">
        <pc:chgData name="van Leeuwen  Sara (VPPL)" userId="7a5f1df4-0dd0-4c9e-a72f-a035cf318af6" providerId="ADAL" clId="{AAA37DE2-93D3-44F8-BE87-C19EC6771CD3}" dt="2023-09-21T08:01:08.297" v="15410"/>
        <pc:sldMkLst>
          <pc:docMk/>
          <pc:sldMk cId="210407677" sldId="2350"/>
        </pc:sldMkLst>
        <pc:spChg chg="mod">
          <ac:chgData name="van Leeuwen  Sara (VPPL)" userId="7a5f1df4-0dd0-4c9e-a72f-a035cf318af6" providerId="ADAL" clId="{AAA37DE2-93D3-44F8-BE87-C19EC6771CD3}" dt="2023-09-21T08:01:07.606" v="13255" actId="948"/>
          <ac:spMkLst>
            <pc:docMk/>
            <pc:sldMk cId="210407677" sldId="2350"/>
            <ac:spMk id="2" creationId="{52558334-A345-4D81-9F4E-D052229C97C2}"/>
          </ac:spMkLst>
        </pc:spChg>
        <pc:spChg chg="add del mod modVis">
          <ac:chgData name="van Leeuwen  Sara (VPPL)" userId="7a5f1df4-0dd0-4c9e-a72f-a035cf318af6" providerId="ADAL" clId="{AAA37DE2-93D3-44F8-BE87-C19EC6771CD3}" dt="2023-09-21T08:01:08.115" v="15221" actId="478"/>
          <ac:spMkLst>
            <pc:docMk/>
            <pc:sldMk cId="210407677" sldId="2350"/>
            <ac:spMk id="3" creationId="{D8AF1229-626C-3087-5021-C201244136D0}"/>
          </ac:spMkLst>
        </pc:spChg>
        <pc:spChg chg="mod">
          <ac:chgData name="van Leeuwen  Sara (VPPL)" userId="7a5f1df4-0dd0-4c9e-a72f-a035cf318af6" providerId="ADAL" clId="{AAA37DE2-93D3-44F8-BE87-C19EC6771CD3}" dt="2023-09-21T07:58:43.934" v="4756" actId="947"/>
          <ac:spMkLst>
            <pc:docMk/>
            <pc:sldMk cId="210407677" sldId="2350"/>
            <ac:spMk id="5" creationId="{20CBB855-862A-446C-A75E-1B38AEA6B736}"/>
          </ac:spMkLst>
        </pc:spChg>
        <pc:graphicFrameChg chg="mod">
          <ac:chgData name="van Leeuwen  Sara (VPPL)" userId="7a5f1df4-0dd0-4c9e-a72f-a035cf318af6" providerId="ADAL" clId="{AAA37DE2-93D3-44F8-BE87-C19EC6771CD3}" dt="2023-09-21T08:01:08.297" v="15410"/>
          <ac:graphicFrameMkLst>
            <pc:docMk/>
            <pc:sldMk cId="210407677" sldId="2350"/>
            <ac:graphicFrameMk id="4" creationId="{1FE7B902-01C5-279F-716C-D4818AF88DEB}"/>
          </ac:graphicFrameMkLst>
        </pc:graphicFrameChg>
      </pc:sldChg>
      <pc:sldChg chg="addSp delSp modSp mod ord modNotes">
        <pc:chgData name="van Leeuwen  Sara (VPPL)" userId="7a5f1df4-0dd0-4c9e-a72f-a035cf318af6" providerId="ADAL" clId="{AAA37DE2-93D3-44F8-BE87-C19EC6771CD3}" dt="2023-09-21T08:01:08.392" v="15454"/>
        <pc:sldMkLst>
          <pc:docMk/>
          <pc:sldMk cId="1080794082" sldId="2363"/>
        </pc:sldMkLst>
        <pc:spChg chg="mod">
          <ac:chgData name="van Leeuwen  Sara (VPPL)" userId="7a5f1df4-0dd0-4c9e-a72f-a035cf318af6" providerId="ADAL" clId="{AAA37DE2-93D3-44F8-BE87-C19EC6771CD3}" dt="2023-09-21T08:01:08.062" v="15028" actId="948"/>
          <ac:spMkLst>
            <pc:docMk/>
            <pc:sldMk cId="1080794082" sldId="2363"/>
            <ac:spMk id="2" creationId="{00000000-0000-0000-0000-000000000000}"/>
          </ac:spMkLst>
        </pc:spChg>
        <pc:spChg chg="add del mod modVis">
          <ac:chgData name="van Leeuwen  Sara (VPPL)" userId="7a5f1df4-0dd0-4c9e-a72f-a035cf318af6" providerId="ADAL" clId="{AAA37DE2-93D3-44F8-BE87-C19EC6771CD3}" dt="2023-09-20T14:25:25.702" v="3035"/>
          <ac:spMkLst>
            <pc:docMk/>
            <pc:sldMk cId="1080794082" sldId="2363"/>
            <ac:spMk id="3" creationId="{A4BD7F28-ACB6-9C1E-C8A1-8B2F92EC783F}"/>
          </ac:spMkLst>
        </pc:spChg>
        <pc:spChg chg="add del mod modVis">
          <ac:chgData name="van Leeuwen  Sara (VPPL)" userId="7a5f1df4-0dd0-4c9e-a72f-a035cf318af6" providerId="ADAL" clId="{AAA37DE2-93D3-44F8-BE87-C19EC6771CD3}" dt="2023-09-21T08:01:08.141" v="15323" actId="478"/>
          <ac:spMkLst>
            <pc:docMk/>
            <pc:sldMk cId="1080794082" sldId="2363"/>
            <ac:spMk id="3" creationId="{E9B5CB8F-DECE-4F5D-EBEA-9AB2E4293926}"/>
          </ac:spMkLst>
        </pc:spChg>
        <pc:spChg chg="add del mod modVis">
          <ac:chgData name="van Leeuwen  Sara (VPPL)" userId="7a5f1df4-0dd0-4c9e-a72f-a035cf318af6" providerId="ADAL" clId="{AAA37DE2-93D3-44F8-BE87-C19EC6771CD3}" dt="2023-09-20T12:15:02.332" v="1266"/>
          <ac:spMkLst>
            <pc:docMk/>
            <pc:sldMk cId="1080794082" sldId="2363"/>
            <ac:spMk id="3" creationId="{ED6D12E4-92B2-C8C8-5B01-1D86ACD255D1}"/>
          </ac:spMkLst>
        </pc:spChg>
        <pc:spChg chg="mod">
          <ac:chgData name="van Leeuwen  Sara (VPPL)" userId="7a5f1df4-0dd0-4c9e-a72f-a035cf318af6" providerId="ADAL" clId="{AAA37DE2-93D3-44F8-BE87-C19EC6771CD3}" dt="2023-09-21T07:58:43.681" v="4514" actId="947"/>
          <ac:spMkLst>
            <pc:docMk/>
            <pc:sldMk cId="1080794082" sldId="2363"/>
            <ac:spMk id="4" creationId="{00000000-0000-0000-0000-000000000000}"/>
          </ac:spMkLst>
        </pc:spChg>
        <pc:spChg chg="mod">
          <ac:chgData name="van Leeuwen  Sara (VPPL)" userId="7a5f1df4-0dd0-4c9e-a72f-a035cf318af6" providerId="ADAL" clId="{AAA37DE2-93D3-44F8-BE87-C19EC6771CD3}" dt="2023-09-21T07:58:43.697" v="4518" actId="947"/>
          <ac:spMkLst>
            <pc:docMk/>
            <pc:sldMk cId="1080794082" sldId="2363"/>
            <ac:spMk id="6" creationId="{00000000-0000-0000-0000-000000000000}"/>
          </ac:spMkLst>
        </pc:spChg>
        <pc:spChg chg="add del mod modVis">
          <ac:chgData name="van Leeuwen  Sara (VPPL)" userId="7a5f1df4-0dd0-4c9e-a72f-a035cf318af6" providerId="ADAL" clId="{AAA37DE2-93D3-44F8-BE87-C19EC6771CD3}" dt="2023-09-20T12:15:06.071" v="1328"/>
          <ac:spMkLst>
            <pc:docMk/>
            <pc:sldMk cId="1080794082" sldId="2363"/>
            <ac:spMk id="7" creationId="{993902C3-834F-3BE3-D226-2141F2046AAC}"/>
          </ac:spMkLst>
        </pc:spChg>
        <pc:spChg chg="add del mod modVis">
          <ac:chgData name="van Leeuwen  Sara (VPPL)" userId="7a5f1df4-0dd0-4c9e-a72f-a035cf318af6" providerId="ADAL" clId="{AAA37DE2-93D3-44F8-BE87-C19EC6771CD3}" dt="2023-09-20T12:15:07.824" v="1381"/>
          <ac:spMkLst>
            <pc:docMk/>
            <pc:sldMk cId="1080794082" sldId="2363"/>
            <ac:spMk id="8" creationId="{C2D87820-554B-5143-BD58-56E859C877F8}"/>
          </ac:spMkLst>
        </pc:spChg>
        <pc:spChg chg="mod">
          <ac:chgData name="van Leeuwen  Sara (VPPL)" userId="7a5f1df4-0dd0-4c9e-a72f-a035cf318af6" providerId="ADAL" clId="{AAA37DE2-93D3-44F8-BE87-C19EC6771CD3}" dt="2023-09-21T07:58:43.697" v="4520" actId="947"/>
          <ac:spMkLst>
            <pc:docMk/>
            <pc:sldMk cId="1080794082" sldId="2363"/>
            <ac:spMk id="9" creationId="{DAD87841-70CF-4F6D-B9E5-42EAA3A807C7}"/>
          </ac:spMkLst>
        </pc:spChg>
        <pc:spChg chg="mod">
          <ac:chgData name="van Leeuwen  Sara (VPPL)" userId="7a5f1df4-0dd0-4c9e-a72f-a035cf318af6" providerId="ADAL" clId="{AAA37DE2-93D3-44F8-BE87-C19EC6771CD3}" dt="2023-09-21T08:01:07.323" v="12333" actId="790"/>
          <ac:spMkLst>
            <pc:docMk/>
            <pc:sldMk cId="1080794082" sldId="2363"/>
            <ac:spMk id="12" creationId="{D75AFB06-C0D5-C44A-AFA0-9276A7192873}"/>
          </ac:spMkLst>
        </pc:spChg>
        <pc:spChg chg="mod">
          <ac:chgData name="van Leeuwen  Sara (VPPL)" userId="7a5f1df4-0dd0-4c9e-a72f-a035cf318af6" providerId="ADAL" clId="{AAA37DE2-93D3-44F8-BE87-C19EC6771CD3}" dt="2023-09-21T08:01:07.323" v="12339" actId="790"/>
          <ac:spMkLst>
            <pc:docMk/>
            <pc:sldMk cId="1080794082" sldId="2363"/>
            <ac:spMk id="19" creationId="{A0AA57D8-6525-B82E-1C62-1D086A2C61F0}"/>
          </ac:spMkLst>
        </pc:spChg>
        <pc:spChg chg="mod">
          <ac:chgData name="van Leeuwen  Sara (VPPL)" userId="7a5f1df4-0dd0-4c9e-a72f-a035cf318af6" providerId="ADAL" clId="{AAA37DE2-93D3-44F8-BE87-C19EC6771CD3}" dt="2023-09-21T08:01:07.323" v="12341" actId="790"/>
          <ac:spMkLst>
            <pc:docMk/>
            <pc:sldMk cId="1080794082" sldId="2363"/>
            <ac:spMk id="20" creationId="{CF7B0E3C-915D-6129-4612-FFB31E8E9DE1}"/>
          </ac:spMkLst>
        </pc:spChg>
        <pc:spChg chg="mod">
          <ac:chgData name="van Leeuwen  Sara (VPPL)" userId="7a5f1df4-0dd0-4c9e-a72f-a035cf318af6" providerId="ADAL" clId="{AAA37DE2-93D3-44F8-BE87-C19EC6771CD3}" dt="2023-09-21T08:01:07.323" v="12343" actId="790"/>
          <ac:spMkLst>
            <pc:docMk/>
            <pc:sldMk cId="1080794082" sldId="2363"/>
            <ac:spMk id="24" creationId="{75D38813-0E3F-5E16-F430-0CD6F710989C}"/>
          </ac:spMkLst>
        </pc:spChg>
        <pc:spChg chg="mod">
          <ac:chgData name="van Leeuwen  Sara (VPPL)" userId="7a5f1df4-0dd0-4c9e-a72f-a035cf318af6" providerId="ADAL" clId="{AAA37DE2-93D3-44F8-BE87-C19EC6771CD3}" dt="2023-09-21T08:01:07.338" v="12345" actId="790"/>
          <ac:spMkLst>
            <pc:docMk/>
            <pc:sldMk cId="1080794082" sldId="2363"/>
            <ac:spMk id="28" creationId="{78A878A6-2955-34DC-8D75-4E2128930BD8}"/>
          </ac:spMkLst>
        </pc:spChg>
        <pc:graphicFrameChg chg="mod">
          <ac:chgData name="van Leeuwen  Sara (VPPL)" userId="7a5f1df4-0dd0-4c9e-a72f-a035cf318af6" providerId="ADAL" clId="{AAA37DE2-93D3-44F8-BE87-C19EC6771CD3}" dt="2023-09-21T08:01:08.392" v="15454"/>
          <ac:graphicFrameMkLst>
            <pc:docMk/>
            <pc:sldMk cId="1080794082" sldId="2363"/>
            <ac:graphicFrameMk id="5" creationId="{6CD3BF2A-4B05-1D82-BE24-6EDADE277B81}"/>
          </ac:graphicFrameMkLst>
        </pc:graphicFrameChg>
      </pc:sldChg>
      <pc:sldChg chg="addSp delSp modSp mod modNotes">
        <pc:chgData name="van Leeuwen  Sara (VPPL)" userId="7a5f1df4-0dd0-4c9e-a72f-a035cf318af6" providerId="ADAL" clId="{AAA37DE2-93D3-44F8-BE87-C19EC6771CD3}" dt="2023-09-21T08:01:08.297" v="15412"/>
        <pc:sldMkLst>
          <pc:docMk/>
          <pc:sldMk cId="1900787555" sldId="2369"/>
        </pc:sldMkLst>
        <pc:spChg chg="mod">
          <ac:chgData name="van Leeuwen  Sara (VPPL)" userId="7a5f1df4-0dd0-4c9e-a72f-a035cf318af6" providerId="ADAL" clId="{AAA37DE2-93D3-44F8-BE87-C19EC6771CD3}" dt="2023-09-21T08:01:07.606" v="13291" actId="948"/>
          <ac:spMkLst>
            <pc:docMk/>
            <pc:sldMk cId="1900787555" sldId="2369"/>
            <ac:spMk id="2" creationId="{FC65B3EF-08EF-432C-BEBF-CB2B499FB533}"/>
          </ac:spMkLst>
        </pc:spChg>
        <pc:spChg chg="mod">
          <ac:chgData name="van Leeuwen  Sara (VPPL)" userId="7a5f1df4-0dd0-4c9e-a72f-a035cf318af6" providerId="ADAL" clId="{AAA37DE2-93D3-44F8-BE87-C19EC6771CD3}" dt="2023-09-21T07:58:43.902" v="4744" actId="947"/>
          <ac:spMkLst>
            <pc:docMk/>
            <pc:sldMk cId="1900787555" sldId="2369"/>
            <ac:spMk id="3" creationId="{D248A836-D270-48AC-93BC-E789F2E8E734}"/>
          </ac:spMkLst>
        </pc:spChg>
        <pc:spChg chg="mod">
          <ac:chgData name="van Leeuwen  Sara (VPPL)" userId="7a5f1df4-0dd0-4c9e-a72f-a035cf318af6" providerId="ADAL" clId="{AAA37DE2-93D3-44F8-BE87-C19EC6771CD3}" dt="2023-09-21T07:58:43.902" v="4746" actId="947"/>
          <ac:spMkLst>
            <pc:docMk/>
            <pc:sldMk cId="1900787555" sldId="2369"/>
            <ac:spMk id="4" creationId="{305442D0-14ED-4C2A-A91B-14866EB77D60}"/>
          </ac:spMkLst>
        </pc:spChg>
        <pc:spChg chg="mod">
          <ac:chgData name="van Leeuwen  Sara (VPPL)" userId="7a5f1df4-0dd0-4c9e-a72f-a035cf318af6" providerId="ADAL" clId="{AAA37DE2-93D3-44F8-BE87-C19EC6771CD3}" dt="2023-09-21T08:01:07.385" v="12565" actId="790"/>
          <ac:spMkLst>
            <pc:docMk/>
            <pc:sldMk cId="1900787555" sldId="2369"/>
            <ac:spMk id="5" creationId="{B057CD9C-7E82-4EE5-8D4A-CF1F831FF9E4}"/>
          </ac:spMkLst>
        </pc:spChg>
        <pc:spChg chg="mod">
          <ac:chgData name="van Leeuwen  Sara (VPPL)" userId="7a5f1df4-0dd0-4c9e-a72f-a035cf318af6" providerId="ADAL" clId="{AAA37DE2-93D3-44F8-BE87-C19EC6771CD3}" dt="2023-09-21T07:58:43.902" v="4750" actId="947"/>
          <ac:spMkLst>
            <pc:docMk/>
            <pc:sldMk cId="1900787555" sldId="2369"/>
            <ac:spMk id="6" creationId="{727CB4E9-0DB2-4603-A8AD-72263838A1CA}"/>
          </ac:spMkLst>
        </pc:spChg>
        <pc:spChg chg="add del mod modVis">
          <ac:chgData name="van Leeuwen  Sara (VPPL)" userId="7a5f1df4-0dd0-4c9e-a72f-a035cf318af6" providerId="ADAL" clId="{AAA37DE2-93D3-44F8-BE87-C19EC6771CD3}" dt="2023-09-21T08:01:08.115" v="15223" actId="478"/>
          <ac:spMkLst>
            <pc:docMk/>
            <pc:sldMk cId="1900787555" sldId="2369"/>
            <ac:spMk id="7" creationId="{836DFA5D-D541-C211-53C2-54D067B80DF4}"/>
          </ac:spMkLst>
        </pc:spChg>
        <pc:spChg chg="add del mod modVis">
          <ac:chgData name="van Leeuwen  Sara (VPPL)" userId="7a5f1df4-0dd0-4c9e-a72f-a035cf318af6" providerId="ADAL" clId="{AAA37DE2-93D3-44F8-BE87-C19EC6771CD3}" dt="2023-09-20T13:46:47.688" v="1903"/>
          <ac:spMkLst>
            <pc:docMk/>
            <pc:sldMk cId="1900787555" sldId="2369"/>
            <ac:spMk id="7" creationId="{9BEBEFA3-8475-C420-CC19-124932FE8B11}"/>
          </ac:spMkLst>
        </pc:spChg>
        <pc:spChg chg="mod">
          <ac:chgData name="van Leeuwen  Sara (VPPL)" userId="7a5f1df4-0dd0-4c9e-a72f-a035cf318af6" providerId="ADAL" clId="{AAA37DE2-93D3-44F8-BE87-C19EC6771CD3}" dt="2023-09-21T07:58:43.902" v="4752" actId="947"/>
          <ac:spMkLst>
            <pc:docMk/>
            <pc:sldMk cId="1900787555" sldId="2369"/>
            <ac:spMk id="9" creationId="{8928BBA9-96FA-40B4-9815-860C77E3EC41}"/>
          </ac:spMkLst>
        </pc:spChg>
        <pc:spChg chg="add del mod modVis">
          <ac:chgData name="van Leeuwen  Sara (VPPL)" userId="7a5f1df4-0dd0-4c9e-a72f-a035cf318af6" providerId="ADAL" clId="{AAA37DE2-93D3-44F8-BE87-C19EC6771CD3}" dt="2023-09-20T13:46:50.114" v="1957"/>
          <ac:spMkLst>
            <pc:docMk/>
            <pc:sldMk cId="1900787555" sldId="2369"/>
            <ac:spMk id="11" creationId="{21F100CE-13E3-014C-82F7-00136F3D9441}"/>
          </ac:spMkLst>
        </pc:spChg>
        <pc:spChg chg="add del mod modVis">
          <ac:chgData name="van Leeuwen  Sara (VPPL)" userId="7a5f1df4-0dd0-4c9e-a72f-a035cf318af6" providerId="ADAL" clId="{AAA37DE2-93D3-44F8-BE87-C19EC6771CD3}" dt="2023-09-20T13:46:50.900" v="2003"/>
          <ac:spMkLst>
            <pc:docMk/>
            <pc:sldMk cId="1900787555" sldId="2369"/>
            <ac:spMk id="12" creationId="{2BB0246F-DF87-A281-2FFA-5D67DBC2BC00}"/>
          </ac:spMkLst>
        </pc:spChg>
        <pc:spChg chg="add del mod modVis">
          <ac:chgData name="van Leeuwen  Sara (VPPL)" userId="7a5f1df4-0dd0-4c9e-a72f-a035cf318af6" providerId="ADAL" clId="{AAA37DE2-93D3-44F8-BE87-C19EC6771CD3}" dt="2023-09-20T13:46:52.270" v="2049"/>
          <ac:spMkLst>
            <pc:docMk/>
            <pc:sldMk cId="1900787555" sldId="2369"/>
            <ac:spMk id="13" creationId="{AFB93E80-A6B2-28DD-B872-9B3CE3BD6CA4}"/>
          </ac:spMkLst>
        </pc:spChg>
        <pc:graphicFrameChg chg="mod">
          <ac:chgData name="van Leeuwen  Sara (VPPL)" userId="7a5f1df4-0dd0-4c9e-a72f-a035cf318af6" providerId="ADAL" clId="{AAA37DE2-93D3-44F8-BE87-C19EC6771CD3}" dt="2023-09-21T08:01:08.297" v="15412"/>
          <ac:graphicFrameMkLst>
            <pc:docMk/>
            <pc:sldMk cId="1900787555" sldId="2369"/>
            <ac:graphicFrameMk id="10" creationId="{5CEC7E4B-C0D8-8565-2536-A0AED66D6795}"/>
          </ac:graphicFrameMkLst>
        </pc:graphicFrameChg>
        <pc:picChg chg="mod">
          <ac:chgData name="van Leeuwen  Sara (VPPL)" userId="7a5f1df4-0dd0-4c9e-a72f-a035cf318af6" providerId="ADAL" clId="{AAA37DE2-93D3-44F8-BE87-C19EC6771CD3}" dt="2023-09-20T13:47:33.318" v="2052" actId="14826"/>
          <ac:picMkLst>
            <pc:docMk/>
            <pc:sldMk cId="1900787555" sldId="2369"/>
            <ac:picMk id="8" creationId="{A6706CC3-8947-4813-8BE0-CC4FF62607E1}"/>
          </ac:picMkLst>
        </pc:picChg>
      </pc:sldChg>
      <pc:sldChg chg="addSp delSp modSp mod modNotes">
        <pc:chgData name="van Leeuwen  Sara (VPPL)" userId="7a5f1df4-0dd0-4c9e-a72f-a035cf318af6" providerId="ADAL" clId="{AAA37DE2-93D3-44F8-BE87-C19EC6771CD3}" dt="2023-09-21T09:44:54.430" v="17422" actId="1037"/>
        <pc:sldMkLst>
          <pc:docMk/>
          <pc:sldMk cId="2700500582" sldId="2374"/>
        </pc:sldMkLst>
        <pc:spChg chg="mod">
          <ac:chgData name="van Leeuwen  Sara (VPPL)" userId="7a5f1df4-0dd0-4c9e-a72f-a035cf318af6" providerId="ADAL" clId="{AAA37DE2-93D3-44F8-BE87-C19EC6771CD3}" dt="2023-09-21T08:01:07.984" v="14587" actId="948"/>
          <ac:spMkLst>
            <pc:docMk/>
            <pc:sldMk cId="2700500582" sldId="2374"/>
            <ac:spMk id="2" creationId="{00000000-0000-0000-0000-000000000000}"/>
          </ac:spMkLst>
        </pc:spChg>
        <pc:spChg chg="mod">
          <ac:chgData name="van Leeuwen  Sara (VPPL)" userId="7a5f1df4-0dd0-4c9e-a72f-a035cf318af6" providerId="ADAL" clId="{AAA37DE2-93D3-44F8-BE87-C19EC6771CD3}" dt="2023-09-21T09:44:54.430" v="17422" actId="1037"/>
          <ac:spMkLst>
            <pc:docMk/>
            <pc:sldMk cId="2700500582" sldId="2374"/>
            <ac:spMk id="3" creationId="{7A042853-0D90-4A81-96A2-3E339984207D}"/>
          </ac:spMkLst>
        </pc:spChg>
        <pc:spChg chg="mod">
          <ac:chgData name="van Leeuwen  Sara (VPPL)" userId="7a5f1df4-0dd0-4c9e-a72f-a035cf318af6" providerId="ADAL" clId="{AAA37DE2-93D3-44F8-BE87-C19EC6771CD3}" dt="2023-09-21T07:58:43.145" v="3948" actId="947"/>
          <ac:spMkLst>
            <pc:docMk/>
            <pc:sldMk cId="2700500582" sldId="2374"/>
            <ac:spMk id="4" creationId="{00000000-0000-0000-0000-000000000000}"/>
          </ac:spMkLst>
        </pc:spChg>
        <pc:spChg chg="add del mod modVis">
          <ac:chgData name="van Leeuwen  Sara (VPPL)" userId="7a5f1df4-0dd0-4c9e-a72f-a035cf318af6" providerId="ADAL" clId="{AAA37DE2-93D3-44F8-BE87-C19EC6771CD3}" dt="2023-09-21T08:01:08.141" v="15300" actId="478"/>
          <ac:spMkLst>
            <pc:docMk/>
            <pc:sldMk cId="2700500582" sldId="2374"/>
            <ac:spMk id="5" creationId="{01125ECF-7A55-B16B-9446-3B00CCD2979B}"/>
          </ac:spMkLst>
        </pc:spChg>
        <pc:spChg chg="mod">
          <ac:chgData name="van Leeuwen  Sara (VPPL)" userId="7a5f1df4-0dd0-4c9e-a72f-a035cf318af6" providerId="ADAL" clId="{AAA37DE2-93D3-44F8-BE87-C19EC6771CD3}" dt="2023-09-21T07:58:43.145" v="3952" actId="947"/>
          <ac:spMkLst>
            <pc:docMk/>
            <pc:sldMk cId="2700500582" sldId="2374"/>
            <ac:spMk id="6" creationId="{00000000-0000-0000-0000-000000000000}"/>
          </ac:spMkLst>
        </pc:spChg>
        <pc:spChg chg="mod">
          <ac:chgData name="van Leeuwen  Sara (VPPL)" userId="7a5f1df4-0dd0-4c9e-a72f-a035cf318af6" providerId="ADAL" clId="{AAA37DE2-93D3-44F8-BE87-C19EC6771CD3}" dt="2023-09-21T08:01:07.229" v="11767" actId="790"/>
          <ac:spMkLst>
            <pc:docMk/>
            <pc:sldMk cId="2700500582" sldId="2374"/>
            <ac:spMk id="8" creationId="{D75AFB06-C0D5-C44A-AFA0-9276A7192873}"/>
          </ac:spMkLst>
        </pc:spChg>
        <pc:spChg chg="mod">
          <ac:chgData name="van Leeuwen  Sara (VPPL)" userId="7a5f1df4-0dd0-4c9e-a72f-a035cf318af6" providerId="ADAL" clId="{AAA37DE2-93D3-44F8-BE87-C19EC6771CD3}" dt="2023-09-21T07:58:43.176" v="3992" actId="947"/>
          <ac:spMkLst>
            <pc:docMk/>
            <pc:sldMk cId="2700500582" sldId="2374"/>
            <ac:spMk id="9" creationId="{89A99E02-2595-4654-A914-9755D7AC0719}"/>
          </ac:spMkLst>
        </pc:spChg>
        <pc:spChg chg="mod">
          <ac:chgData name="van Leeuwen  Sara (VPPL)" userId="7a5f1df4-0dd0-4c9e-a72f-a035cf318af6" providerId="ADAL" clId="{AAA37DE2-93D3-44F8-BE87-C19EC6771CD3}" dt="2023-09-21T08:01:07.229" v="11762" actId="20577"/>
          <ac:spMkLst>
            <pc:docMk/>
            <pc:sldMk cId="2700500582" sldId="2374"/>
            <ac:spMk id="11" creationId="{5344F9C8-B127-4FF7-8C03-12CC8EFA99B9}"/>
          </ac:spMkLst>
        </pc:spChg>
        <pc:spChg chg="del">
          <ac:chgData name="van Leeuwen  Sara (VPPL)" userId="7a5f1df4-0dd0-4c9e-a72f-a035cf318af6" providerId="ADAL" clId="{AAA37DE2-93D3-44F8-BE87-C19EC6771CD3}" dt="2023-09-21T06:51:17.474" v="3207" actId="478"/>
          <ac:spMkLst>
            <pc:docMk/>
            <pc:sldMk cId="2700500582" sldId="2374"/>
            <ac:spMk id="13" creationId="{98D738A7-07A9-E3AD-32A3-73C8537729F5}"/>
          </ac:spMkLst>
        </pc:spChg>
        <pc:graphicFrameChg chg="mod">
          <ac:chgData name="van Leeuwen  Sara (VPPL)" userId="7a5f1df4-0dd0-4c9e-a72f-a035cf318af6" providerId="ADAL" clId="{AAA37DE2-93D3-44F8-BE87-C19EC6771CD3}" dt="2023-09-21T08:01:08.329" v="15430"/>
          <ac:graphicFrameMkLst>
            <pc:docMk/>
            <pc:sldMk cId="2700500582" sldId="2374"/>
            <ac:graphicFrameMk id="7" creationId="{D029420C-BACC-45F4-B59F-60328FEAACD1}"/>
          </ac:graphicFrameMkLst>
        </pc:graphicFrameChg>
        <pc:graphicFrameChg chg="modGraphic">
          <ac:chgData name="van Leeuwen  Sara (VPPL)" userId="7a5f1df4-0dd0-4c9e-a72f-a035cf318af6" providerId="ADAL" clId="{AAA37DE2-93D3-44F8-BE87-C19EC6771CD3}" dt="2023-09-21T07:58:43.176" v="3988" actId="947"/>
          <ac:graphicFrameMkLst>
            <pc:docMk/>
            <pc:sldMk cId="2700500582" sldId="2374"/>
            <ac:graphicFrameMk id="10" creationId="{9B7E8B9D-5F9A-4F11-B14F-FECAB6CF2579}"/>
          </ac:graphicFrameMkLst>
        </pc:graphicFrameChg>
      </pc:sldChg>
      <pc:sldChg chg="modSp mod modNotes">
        <pc:chgData name="van Leeuwen  Sara (VPPL)" userId="7a5f1df4-0dd0-4c9e-a72f-a035cf318af6" providerId="ADAL" clId="{AAA37DE2-93D3-44F8-BE87-C19EC6771CD3}" dt="2023-09-21T08:01:08.329" v="15426"/>
        <pc:sldMkLst>
          <pc:docMk/>
          <pc:sldMk cId="3233872304" sldId="2379"/>
        </pc:sldMkLst>
        <pc:spChg chg="mod">
          <ac:chgData name="van Leeuwen  Sara (VPPL)" userId="7a5f1df4-0dd0-4c9e-a72f-a035cf318af6" providerId="ADAL" clId="{AAA37DE2-93D3-44F8-BE87-C19EC6771CD3}" dt="2023-09-21T07:58:43.081" v="3874" actId="947"/>
          <ac:spMkLst>
            <pc:docMk/>
            <pc:sldMk cId="3233872304" sldId="2379"/>
            <ac:spMk id="4" creationId="{1C64F35D-60B1-47E8-8AA1-15FBD62E6694}"/>
          </ac:spMkLst>
        </pc:spChg>
        <pc:spChg chg="mod">
          <ac:chgData name="van Leeuwen  Sara (VPPL)" userId="7a5f1df4-0dd0-4c9e-a72f-a035cf318af6" providerId="ADAL" clId="{AAA37DE2-93D3-44F8-BE87-C19EC6771CD3}" dt="2023-09-21T07:58:43.065" v="3872" actId="947"/>
          <ac:spMkLst>
            <pc:docMk/>
            <pc:sldMk cId="3233872304" sldId="2379"/>
            <ac:spMk id="8" creationId="{AC1FB292-90C1-439C-8480-EB4116CF2374}"/>
          </ac:spMkLst>
        </pc:spChg>
        <pc:graphicFrameChg chg="mod">
          <ac:chgData name="van Leeuwen  Sara (VPPL)" userId="7a5f1df4-0dd0-4c9e-a72f-a035cf318af6" providerId="ADAL" clId="{AAA37DE2-93D3-44F8-BE87-C19EC6771CD3}" dt="2023-09-21T08:01:08.329" v="15426"/>
          <ac:graphicFrameMkLst>
            <pc:docMk/>
            <pc:sldMk cId="3233872304" sldId="2379"/>
            <ac:graphicFrameMk id="3" creationId="{0372FE01-FDAF-E163-444D-9DE29DB2312E}"/>
          </ac:graphicFrameMkLst>
        </pc:graphicFrameChg>
      </pc:sldChg>
      <pc:sldChg chg="del">
        <pc:chgData name="van Leeuwen  Sara (VPPL)" userId="7a5f1df4-0dd0-4c9e-a72f-a035cf318af6" providerId="ADAL" clId="{AAA37DE2-93D3-44F8-BE87-C19EC6771CD3}" dt="2023-09-21T06:49:05.294" v="3174" actId="47"/>
        <pc:sldMkLst>
          <pc:docMk/>
          <pc:sldMk cId="1734056380" sldId="2382"/>
        </pc:sldMkLst>
      </pc:sldChg>
      <pc:sldChg chg="addSp delSp modSp mod modNotes">
        <pc:chgData name="van Leeuwen  Sara (VPPL)" userId="7a5f1df4-0dd0-4c9e-a72f-a035cf318af6" providerId="ADAL" clId="{AAA37DE2-93D3-44F8-BE87-C19EC6771CD3}" dt="2023-09-21T09:45:08.301" v="17442" actId="1036"/>
        <pc:sldMkLst>
          <pc:docMk/>
          <pc:sldMk cId="1769867695" sldId="2392"/>
        </pc:sldMkLst>
        <pc:spChg chg="mod">
          <ac:chgData name="van Leeuwen  Sara (VPPL)" userId="7a5f1df4-0dd0-4c9e-a72f-a035cf318af6" providerId="ADAL" clId="{AAA37DE2-93D3-44F8-BE87-C19EC6771CD3}" dt="2023-09-21T08:01:07.984" v="14623" actId="948"/>
          <ac:spMkLst>
            <pc:docMk/>
            <pc:sldMk cId="1769867695" sldId="2392"/>
            <ac:spMk id="2" creationId="{00000000-0000-0000-0000-000000000000}"/>
          </ac:spMkLst>
        </pc:spChg>
        <pc:spChg chg="add del mod modVis">
          <ac:chgData name="van Leeuwen  Sara (VPPL)" userId="7a5f1df4-0dd0-4c9e-a72f-a035cf318af6" providerId="ADAL" clId="{AAA37DE2-93D3-44F8-BE87-C19EC6771CD3}" dt="2023-09-20T13:54:55.061" v="2353"/>
          <ac:spMkLst>
            <pc:docMk/>
            <pc:sldMk cId="1769867695" sldId="2392"/>
            <ac:spMk id="3" creationId="{4FBAE65D-98CE-F062-625F-2762502A105D}"/>
          </ac:spMkLst>
        </pc:spChg>
        <pc:spChg chg="add del mod modVis">
          <ac:chgData name="van Leeuwen  Sara (VPPL)" userId="7a5f1df4-0dd0-4c9e-a72f-a035cf318af6" providerId="ADAL" clId="{AAA37DE2-93D3-44F8-BE87-C19EC6771CD3}" dt="2023-09-21T08:01:08.141" v="15302" actId="478"/>
          <ac:spMkLst>
            <pc:docMk/>
            <pc:sldMk cId="1769867695" sldId="2392"/>
            <ac:spMk id="3" creationId="{EFDA7B93-3990-155A-01AD-7B0AAD628990}"/>
          </ac:spMkLst>
        </pc:spChg>
        <pc:spChg chg="mod">
          <ac:chgData name="van Leeuwen  Sara (VPPL)" userId="7a5f1df4-0dd0-4c9e-a72f-a035cf318af6" providerId="ADAL" clId="{AAA37DE2-93D3-44F8-BE87-C19EC6771CD3}" dt="2023-09-21T07:58:43.270" v="4086" actId="947"/>
          <ac:spMkLst>
            <pc:docMk/>
            <pc:sldMk cId="1769867695" sldId="2392"/>
            <ac:spMk id="4" creationId="{00000000-0000-0000-0000-000000000000}"/>
          </ac:spMkLst>
        </pc:spChg>
        <pc:spChg chg="mod">
          <ac:chgData name="van Leeuwen  Sara (VPPL)" userId="7a5f1df4-0dd0-4c9e-a72f-a035cf318af6" providerId="ADAL" clId="{AAA37DE2-93D3-44F8-BE87-C19EC6771CD3}" dt="2023-09-21T07:58:43.270" v="4090" actId="947"/>
          <ac:spMkLst>
            <pc:docMk/>
            <pc:sldMk cId="1769867695" sldId="2392"/>
            <ac:spMk id="6" creationId="{00000000-0000-0000-0000-000000000000}"/>
          </ac:spMkLst>
        </pc:spChg>
        <pc:spChg chg="mod">
          <ac:chgData name="van Leeuwen  Sara (VPPL)" userId="7a5f1df4-0dd0-4c9e-a72f-a035cf318af6" providerId="ADAL" clId="{AAA37DE2-93D3-44F8-BE87-C19EC6771CD3}" dt="2023-09-21T07:58:43.279" v="4092" actId="947"/>
          <ac:spMkLst>
            <pc:docMk/>
            <pc:sldMk cId="1769867695" sldId="2392"/>
            <ac:spMk id="7" creationId="{8B4571F4-CEEE-40D0-A216-BDA48C6DB1A7}"/>
          </ac:spMkLst>
        </pc:spChg>
        <pc:spChg chg="mod">
          <ac:chgData name="van Leeuwen  Sara (VPPL)" userId="7a5f1df4-0dd0-4c9e-a72f-a035cf318af6" providerId="ADAL" clId="{AAA37DE2-93D3-44F8-BE87-C19EC6771CD3}" dt="2023-09-21T08:01:07.244" v="11905" actId="790"/>
          <ac:spMkLst>
            <pc:docMk/>
            <pc:sldMk cId="1769867695" sldId="2392"/>
            <ac:spMk id="8" creationId="{D75AFB06-C0D5-C44A-AFA0-9276A7192873}"/>
          </ac:spMkLst>
        </pc:spChg>
        <pc:spChg chg="del">
          <ac:chgData name="van Leeuwen  Sara (VPPL)" userId="7a5f1df4-0dd0-4c9e-a72f-a035cf318af6" providerId="ADAL" clId="{AAA37DE2-93D3-44F8-BE87-C19EC6771CD3}" dt="2023-09-21T07:48:34.956" v="3735" actId="478"/>
          <ac:spMkLst>
            <pc:docMk/>
            <pc:sldMk cId="1769867695" sldId="2392"/>
            <ac:spMk id="9" creationId="{5C1197DD-DFB9-D466-CA64-DF4F078EF8F3}"/>
          </ac:spMkLst>
        </pc:spChg>
        <pc:graphicFrameChg chg="mod">
          <ac:chgData name="van Leeuwen  Sara (VPPL)" userId="7a5f1df4-0dd0-4c9e-a72f-a035cf318af6" providerId="ADAL" clId="{AAA37DE2-93D3-44F8-BE87-C19EC6771CD3}" dt="2023-09-21T08:01:08.345" v="15432"/>
          <ac:graphicFrameMkLst>
            <pc:docMk/>
            <pc:sldMk cId="1769867695" sldId="2392"/>
            <ac:graphicFrameMk id="5" creationId="{672A6001-9BB9-A627-E613-6E007AFFCCA1}"/>
          </ac:graphicFrameMkLst>
        </pc:graphicFrameChg>
        <pc:graphicFrameChg chg="mod modGraphic">
          <ac:chgData name="van Leeuwen  Sara (VPPL)" userId="7a5f1df4-0dd0-4c9e-a72f-a035cf318af6" providerId="ADAL" clId="{AAA37DE2-93D3-44F8-BE87-C19EC6771CD3}" dt="2023-09-21T09:45:08.301" v="17442" actId="1036"/>
          <ac:graphicFrameMkLst>
            <pc:docMk/>
            <pc:sldMk cId="1769867695" sldId="2392"/>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16" v="15422"/>
        <pc:sldMkLst>
          <pc:docMk/>
          <pc:sldMk cId="2631741042" sldId="2394"/>
        </pc:sldMkLst>
        <pc:spChg chg="mod">
          <ac:chgData name="van Leeuwen  Sara (VPPL)" userId="7a5f1df4-0dd0-4c9e-a72f-a035cf318af6" providerId="ADAL" clId="{AAA37DE2-93D3-44F8-BE87-C19EC6771CD3}" dt="2023-09-21T08:01:07.827" v="14047" actId="948"/>
          <ac:spMkLst>
            <pc:docMk/>
            <pc:sldMk cId="2631741042" sldId="2394"/>
            <ac:spMk id="2" creationId="{C2543CB6-7CCE-4092-94E2-1F9AF86C92CD}"/>
          </ac:spMkLst>
        </pc:spChg>
        <pc:spChg chg="mod">
          <ac:chgData name="van Leeuwen  Sara (VPPL)" userId="7a5f1df4-0dd0-4c9e-a72f-a035cf318af6" providerId="ADAL" clId="{AAA37DE2-93D3-44F8-BE87-C19EC6771CD3}" dt="2023-09-21T07:58:43.081" v="3878" actId="947"/>
          <ac:spMkLst>
            <pc:docMk/>
            <pc:sldMk cId="2631741042" sldId="2394"/>
            <ac:spMk id="3" creationId="{E9BBD3EE-C606-408E-8853-A8E4F45E02CE}"/>
          </ac:spMkLst>
        </pc:spChg>
        <pc:spChg chg="mod">
          <ac:chgData name="van Leeuwen  Sara (VPPL)" userId="7a5f1df4-0dd0-4c9e-a72f-a035cf318af6" providerId="ADAL" clId="{AAA37DE2-93D3-44F8-BE87-C19EC6771CD3}" dt="2023-09-21T07:58:43.081" v="3880" actId="947"/>
          <ac:spMkLst>
            <pc:docMk/>
            <pc:sldMk cId="2631741042" sldId="2394"/>
            <ac:spMk id="4" creationId="{5E02C3D0-A359-4178-9EFD-2A2F1CCA3032}"/>
          </ac:spMkLst>
        </pc:spChg>
        <pc:spChg chg="mod">
          <ac:chgData name="van Leeuwen  Sara (VPPL)" userId="7a5f1df4-0dd0-4c9e-a72f-a035cf318af6" providerId="ADAL" clId="{AAA37DE2-93D3-44F8-BE87-C19EC6771CD3}" dt="2023-09-21T08:01:07.215" v="11699" actId="790"/>
          <ac:spMkLst>
            <pc:docMk/>
            <pc:sldMk cId="2631741042" sldId="2394"/>
            <ac:spMk id="5" creationId="{0DF16D9C-E39F-48C7-B71A-BE99D6CB0F36}"/>
          </ac:spMkLst>
        </pc:spChg>
        <pc:spChg chg="mod">
          <ac:chgData name="van Leeuwen  Sara (VPPL)" userId="7a5f1df4-0dd0-4c9e-a72f-a035cf318af6" providerId="ADAL" clId="{AAA37DE2-93D3-44F8-BE87-C19EC6771CD3}" dt="2023-09-21T07:58:43.081" v="3884" actId="947"/>
          <ac:spMkLst>
            <pc:docMk/>
            <pc:sldMk cId="2631741042" sldId="2394"/>
            <ac:spMk id="6" creationId="{9D80BE71-A9EF-4DB5-8695-34039A31964C}"/>
          </ac:spMkLst>
        </pc:spChg>
        <pc:spChg chg="mod">
          <ac:chgData name="van Leeuwen  Sara (VPPL)" userId="7a5f1df4-0dd0-4c9e-a72f-a035cf318af6" providerId="ADAL" clId="{AAA37DE2-93D3-44F8-BE87-C19EC6771CD3}" dt="2023-09-21T07:58:43.081" v="3886" actId="947"/>
          <ac:spMkLst>
            <pc:docMk/>
            <pc:sldMk cId="2631741042" sldId="2394"/>
            <ac:spMk id="7" creationId="{E00086F2-3B9A-4050-BCCD-632B815B626F}"/>
          </ac:spMkLst>
        </pc:spChg>
        <pc:spChg chg="add del mod modVis">
          <ac:chgData name="van Leeuwen  Sara (VPPL)" userId="7a5f1df4-0dd0-4c9e-a72f-a035cf318af6" providerId="ADAL" clId="{AAA37DE2-93D3-44F8-BE87-C19EC6771CD3}" dt="2023-09-21T08:01:08.125" v="15267" actId="478"/>
          <ac:spMkLst>
            <pc:docMk/>
            <pc:sldMk cId="2631741042" sldId="2394"/>
            <ac:spMk id="8" creationId="{2029DCAE-A965-8595-C037-AB93D369B8C4}"/>
          </ac:spMkLst>
        </pc:spChg>
        <pc:graphicFrameChg chg="mod">
          <ac:chgData name="van Leeuwen  Sara (VPPL)" userId="7a5f1df4-0dd0-4c9e-a72f-a035cf318af6" providerId="ADAL" clId="{AAA37DE2-93D3-44F8-BE87-C19EC6771CD3}" dt="2023-09-21T08:01:08.316" v="15422"/>
          <ac:graphicFrameMkLst>
            <pc:docMk/>
            <pc:sldMk cId="2631741042" sldId="2394"/>
            <ac:graphicFrameMk id="9" creationId="{5FC14056-3291-216C-B428-AFA1A2516319}"/>
          </ac:graphicFrameMkLst>
        </pc:graphicFrameChg>
      </pc:sldChg>
      <pc:sldChg chg="addSp delSp modSp mod modNotes">
        <pc:chgData name="van Leeuwen  Sara (VPPL)" userId="7a5f1df4-0dd0-4c9e-a72f-a035cf318af6" providerId="ADAL" clId="{AAA37DE2-93D3-44F8-BE87-C19EC6771CD3}" dt="2023-09-21T08:01:08.376" v="15448"/>
        <pc:sldMkLst>
          <pc:docMk/>
          <pc:sldMk cId="282434247" sldId="2395"/>
        </pc:sldMkLst>
        <pc:spChg chg="mod">
          <ac:chgData name="van Leeuwen  Sara (VPPL)" userId="7a5f1df4-0dd0-4c9e-a72f-a035cf318af6" providerId="ADAL" clId="{AAA37DE2-93D3-44F8-BE87-C19EC6771CD3}" dt="2023-09-21T08:01:08.047" v="14920" actId="948"/>
          <ac:spMkLst>
            <pc:docMk/>
            <pc:sldMk cId="282434247" sldId="2395"/>
            <ac:spMk id="2" creationId="{C2543CB6-7CCE-4092-94E2-1F9AF86C92CD}"/>
          </ac:spMkLst>
        </pc:spChg>
        <pc:spChg chg="mod">
          <ac:chgData name="van Leeuwen  Sara (VPPL)" userId="7a5f1df4-0dd0-4c9e-a72f-a035cf318af6" providerId="ADAL" clId="{AAA37DE2-93D3-44F8-BE87-C19EC6771CD3}" dt="2023-09-21T08:01:07.260" v="11961" actId="790"/>
          <ac:spMkLst>
            <pc:docMk/>
            <pc:sldMk cId="282434247" sldId="2395"/>
            <ac:spMk id="3" creationId="{E9BBD3EE-C606-408E-8853-A8E4F45E02CE}"/>
          </ac:spMkLst>
        </pc:spChg>
        <pc:spChg chg="mod">
          <ac:chgData name="van Leeuwen  Sara (VPPL)" userId="7a5f1df4-0dd0-4c9e-a72f-a035cf318af6" providerId="ADAL" clId="{AAA37DE2-93D3-44F8-BE87-C19EC6771CD3}" dt="2023-09-21T07:58:43.381" v="4146" actId="947"/>
          <ac:spMkLst>
            <pc:docMk/>
            <pc:sldMk cId="282434247" sldId="2395"/>
            <ac:spMk id="4" creationId="{5E02C3D0-A359-4178-9EFD-2A2F1CCA3032}"/>
          </ac:spMkLst>
        </pc:spChg>
        <pc:spChg chg="mod">
          <ac:chgData name="van Leeuwen  Sara (VPPL)" userId="7a5f1df4-0dd0-4c9e-a72f-a035cf318af6" providerId="ADAL" clId="{AAA37DE2-93D3-44F8-BE87-C19EC6771CD3}" dt="2023-09-21T08:01:07.260" v="11965" actId="790"/>
          <ac:spMkLst>
            <pc:docMk/>
            <pc:sldMk cId="282434247" sldId="2395"/>
            <ac:spMk id="5" creationId="{0DF16D9C-E39F-48C7-B71A-BE99D6CB0F36}"/>
          </ac:spMkLst>
        </pc:spChg>
        <pc:spChg chg="mod">
          <ac:chgData name="van Leeuwen  Sara (VPPL)" userId="7a5f1df4-0dd0-4c9e-a72f-a035cf318af6" providerId="ADAL" clId="{AAA37DE2-93D3-44F8-BE87-C19EC6771CD3}" dt="2023-09-21T07:58:43.381" v="4150" actId="947"/>
          <ac:spMkLst>
            <pc:docMk/>
            <pc:sldMk cId="282434247" sldId="2395"/>
            <ac:spMk id="6" creationId="{9D80BE71-A9EF-4DB5-8695-34039A31964C}"/>
          </ac:spMkLst>
        </pc:spChg>
        <pc:spChg chg="add del mod modVis">
          <ac:chgData name="van Leeuwen  Sara (VPPL)" userId="7a5f1df4-0dd0-4c9e-a72f-a035cf318af6" providerId="ADAL" clId="{AAA37DE2-93D3-44F8-BE87-C19EC6771CD3}" dt="2023-09-21T08:01:08.141" v="15317" actId="478"/>
          <ac:spMkLst>
            <pc:docMk/>
            <pc:sldMk cId="282434247" sldId="2395"/>
            <ac:spMk id="7" creationId="{0D1DFB86-5ECC-3926-6C9E-579FA6816B24}"/>
          </ac:spMkLst>
        </pc:spChg>
        <pc:spChg chg="mod">
          <ac:chgData name="van Leeuwen  Sara (VPPL)" userId="7a5f1df4-0dd0-4c9e-a72f-a035cf318af6" providerId="ADAL" clId="{AAA37DE2-93D3-44F8-BE87-C19EC6771CD3}" dt="2023-09-21T07:58:43.381" v="4152" actId="947"/>
          <ac:spMkLst>
            <pc:docMk/>
            <pc:sldMk cId="282434247" sldId="2395"/>
            <ac:spMk id="12" creationId="{B77F3B61-CF9E-0A76-1E14-43DB665C527A}"/>
          </ac:spMkLst>
        </pc:spChg>
        <pc:graphicFrameChg chg="mod">
          <ac:chgData name="van Leeuwen  Sara (VPPL)" userId="7a5f1df4-0dd0-4c9e-a72f-a035cf318af6" providerId="ADAL" clId="{AAA37DE2-93D3-44F8-BE87-C19EC6771CD3}" dt="2023-09-21T08:01:08.376" v="15448"/>
          <ac:graphicFrameMkLst>
            <pc:docMk/>
            <pc:sldMk cId="282434247" sldId="2395"/>
            <ac:graphicFrameMk id="9" creationId="{8900C09A-BEC2-F04F-B75E-1370CB4A0336}"/>
          </ac:graphicFrameMkLst>
        </pc:graphicFrameChg>
      </pc:sldChg>
      <pc:sldChg chg="del">
        <pc:chgData name="van Leeuwen  Sara (VPPL)" userId="7a5f1df4-0dd0-4c9e-a72f-a035cf318af6" providerId="ADAL" clId="{AAA37DE2-93D3-44F8-BE87-C19EC6771CD3}" dt="2023-09-21T06:49:05.294" v="3174" actId="47"/>
        <pc:sldMkLst>
          <pc:docMk/>
          <pc:sldMk cId="2664544122" sldId="2397"/>
        </pc:sldMkLst>
      </pc:sldChg>
      <pc:sldChg chg="addSp delSp modSp mod modNotes">
        <pc:chgData name="van Leeuwen  Sara (VPPL)" userId="7a5f1df4-0dd0-4c9e-a72f-a035cf318af6" providerId="ADAL" clId="{AAA37DE2-93D3-44F8-BE87-C19EC6771CD3}" dt="2023-09-21T08:01:08.360" v="15444"/>
        <pc:sldMkLst>
          <pc:docMk/>
          <pc:sldMk cId="54911923" sldId="2398"/>
        </pc:sldMkLst>
        <pc:spChg chg="mod">
          <ac:chgData name="van Leeuwen  Sara (VPPL)" userId="7a5f1df4-0dd0-4c9e-a72f-a035cf318af6" providerId="ADAL" clId="{AAA37DE2-93D3-44F8-BE87-C19EC6771CD3}" dt="2023-09-21T07:58:43.397" v="4154" actId="947"/>
          <ac:spMkLst>
            <pc:docMk/>
            <pc:sldMk cId="54911923" sldId="2398"/>
            <ac:spMk id="4" creationId="{B5E241A7-3157-41BC-8F34-087641E61DF5}"/>
          </ac:spMkLst>
        </pc:spChg>
        <pc:spChg chg="add del mod modVis">
          <ac:chgData name="van Leeuwen  Sara (VPPL)" userId="7a5f1df4-0dd0-4c9e-a72f-a035cf318af6" providerId="ADAL" clId="{AAA37DE2-93D3-44F8-BE87-C19EC6771CD3}" dt="2023-09-21T08:01:08.141" v="15314" actId="478"/>
          <ac:spMkLst>
            <pc:docMk/>
            <pc:sldMk cId="54911923" sldId="2398"/>
            <ac:spMk id="5" creationId="{C71B34FB-A84F-C7E3-1966-225B436CAA9E}"/>
          </ac:spMkLst>
        </pc:spChg>
        <pc:spChg chg="mod">
          <ac:chgData name="van Leeuwen  Sara (VPPL)" userId="7a5f1df4-0dd0-4c9e-a72f-a035cf318af6" providerId="ADAL" clId="{AAA37DE2-93D3-44F8-BE87-C19EC6771CD3}" dt="2023-09-21T07:58:43.397" v="4156" actId="947"/>
          <ac:spMkLst>
            <pc:docMk/>
            <pc:sldMk cId="54911923" sldId="2398"/>
            <ac:spMk id="6" creationId="{C3EB1F58-4C36-41B8-9CB6-6A2B034CA338}"/>
          </ac:spMkLst>
        </pc:spChg>
        <pc:spChg chg="mod">
          <ac:chgData name="van Leeuwen  Sara (VPPL)" userId="7a5f1df4-0dd0-4c9e-a72f-a035cf318af6" providerId="ADAL" clId="{AAA37DE2-93D3-44F8-BE87-C19EC6771CD3}" dt="2023-09-21T08:01:08.031" v="14884" actId="948"/>
          <ac:spMkLst>
            <pc:docMk/>
            <pc:sldMk cId="54911923" sldId="2398"/>
            <ac:spMk id="7" creationId="{6DAAECCB-C308-43C7-82C6-BAB1F3827081}"/>
          </ac:spMkLst>
        </pc:spChg>
        <pc:spChg chg="mod">
          <ac:chgData name="van Leeuwen  Sara (VPPL)" userId="7a5f1df4-0dd0-4c9e-a72f-a035cf318af6" providerId="ADAL" clId="{AAA37DE2-93D3-44F8-BE87-C19EC6771CD3}" dt="2023-09-21T08:01:07.260" v="11978" actId="20577"/>
          <ac:spMkLst>
            <pc:docMk/>
            <pc:sldMk cId="54911923" sldId="2398"/>
            <ac:spMk id="10" creationId="{138B6753-7E47-4337-A6F5-5627C2C413FE}"/>
          </ac:spMkLst>
        </pc:spChg>
        <pc:spChg chg="mod">
          <ac:chgData name="van Leeuwen  Sara (VPPL)" userId="7a5f1df4-0dd0-4c9e-a72f-a035cf318af6" providerId="ADAL" clId="{AAA37DE2-93D3-44F8-BE87-C19EC6771CD3}" dt="2023-09-21T08:01:07.260" v="11982" actId="20577"/>
          <ac:spMkLst>
            <pc:docMk/>
            <pc:sldMk cId="54911923" sldId="2398"/>
            <ac:spMk id="14" creationId="{561B912D-C211-4E3C-BB22-7EFACE7DA23D}"/>
          </ac:spMkLst>
        </pc:spChg>
        <pc:spChg chg="mod">
          <ac:chgData name="van Leeuwen  Sara (VPPL)" userId="7a5f1df4-0dd0-4c9e-a72f-a035cf318af6" providerId="ADAL" clId="{AAA37DE2-93D3-44F8-BE87-C19EC6771CD3}" dt="2023-09-21T08:01:07.260" v="11986" actId="20577"/>
          <ac:spMkLst>
            <pc:docMk/>
            <pc:sldMk cId="54911923" sldId="2398"/>
            <ac:spMk id="18" creationId="{CD141509-65BB-4E73-9F6E-7D1C39894F21}"/>
          </ac:spMkLst>
        </pc:spChg>
        <pc:spChg chg="mod">
          <ac:chgData name="van Leeuwen  Sara (VPPL)" userId="7a5f1df4-0dd0-4c9e-a72f-a035cf318af6" providerId="ADAL" clId="{AAA37DE2-93D3-44F8-BE87-C19EC6771CD3}" dt="2023-09-21T07:58:43.428" v="4174" actId="947"/>
          <ac:spMkLst>
            <pc:docMk/>
            <pc:sldMk cId="54911923" sldId="2398"/>
            <ac:spMk id="21" creationId="{189F72B7-0371-E235-F696-891E2B3B8EAA}"/>
          </ac:spMkLst>
        </pc:spChg>
        <pc:spChg chg="mod">
          <ac:chgData name="van Leeuwen  Sara (VPPL)" userId="7a5f1df4-0dd0-4c9e-a72f-a035cf318af6" providerId="ADAL" clId="{AAA37DE2-93D3-44F8-BE87-C19EC6771CD3}" dt="2023-09-21T08:01:07.275" v="11993" actId="790"/>
          <ac:spMkLst>
            <pc:docMk/>
            <pc:sldMk cId="54911923" sldId="2398"/>
            <ac:spMk id="22" creationId="{CD6A7308-16BD-0457-C9AD-D60ED7C5E243}"/>
          </ac:spMkLst>
        </pc:spChg>
        <pc:spChg chg="mod">
          <ac:chgData name="van Leeuwen  Sara (VPPL)" userId="7a5f1df4-0dd0-4c9e-a72f-a035cf318af6" providerId="ADAL" clId="{AAA37DE2-93D3-44F8-BE87-C19EC6771CD3}" dt="2023-09-21T08:01:07.275" v="11987" actId="790"/>
          <ac:spMkLst>
            <pc:docMk/>
            <pc:sldMk cId="54911923" sldId="2398"/>
            <ac:spMk id="37" creationId="{166FA689-72C3-40C8-B811-164178E71FB6}"/>
          </ac:spMkLst>
        </pc:spChg>
        <pc:graphicFrameChg chg="mod">
          <ac:chgData name="van Leeuwen  Sara (VPPL)" userId="7a5f1df4-0dd0-4c9e-a72f-a035cf318af6" providerId="ADAL" clId="{AAA37DE2-93D3-44F8-BE87-C19EC6771CD3}" dt="2023-09-21T08:01:08.360" v="15444"/>
          <ac:graphicFrameMkLst>
            <pc:docMk/>
            <pc:sldMk cId="54911923" sldId="2398"/>
            <ac:graphicFrameMk id="3" creationId="{D1EE29B1-71E6-4C96-BE1D-B1770E8F62DA}"/>
          </ac:graphicFrameMkLst>
        </pc:graphicFrameChg>
        <pc:picChg chg="mod">
          <ac:chgData name="van Leeuwen  Sara (VPPL)" userId="7a5f1df4-0dd0-4c9e-a72f-a035cf318af6" providerId="ADAL" clId="{AAA37DE2-93D3-44F8-BE87-C19EC6771CD3}" dt="2023-09-20T14:08:26.908" v="2832" actId="1076"/>
          <ac:picMkLst>
            <pc:docMk/>
            <pc:sldMk cId="54911923" sldId="2398"/>
            <ac:picMk id="20" creationId="{8D7E286F-D8F6-4351-A36B-AFE55DB2E4B8}"/>
          </ac:picMkLst>
        </pc:picChg>
      </pc:sldChg>
      <pc:sldChg chg="addSp delSp modSp mod modNotes">
        <pc:chgData name="van Leeuwen  Sara (VPPL)" userId="7a5f1df4-0dd0-4c9e-a72f-a035cf318af6" providerId="ADAL" clId="{AAA37DE2-93D3-44F8-BE87-C19EC6771CD3}" dt="2023-09-21T08:48:06.134" v="17018" actId="20577"/>
        <pc:sldMkLst>
          <pc:docMk/>
          <pc:sldMk cId="1578806444" sldId="2407"/>
        </pc:sldMkLst>
        <pc:spChg chg="mod">
          <ac:chgData name="van Leeuwen  Sara (VPPL)" userId="7a5f1df4-0dd0-4c9e-a72f-a035cf318af6" providerId="ADAL" clId="{AAA37DE2-93D3-44F8-BE87-C19EC6771CD3}" dt="2023-09-21T08:01:07.952" v="14479" actId="948"/>
          <ac:spMkLst>
            <pc:docMk/>
            <pc:sldMk cId="1578806444" sldId="2407"/>
            <ac:spMk id="2" creationId="{79A1C4D2-CFB3-461C-AF47-77E2FE13A7D1}"/>
          </ac:spMkLst>
        </pc:spChg>
        <pc:spChg chg="mod">
          <ac:chgData name="van Leeuwen  Sara (VPPL)" userId="7a5f1df4-0dd0-4c9e-a72f-a035cf318af6" providerId="ADAL" clId="{AAA37DE2-93D3-44F8-BE87-C19EC6771CD3}" dt="2023-09-21T08:48:06.134" v="17018" actId="20577"/>
          <ac:spMkLst>
            <pc:docMk/>
            <pc:sldMk cId="1578806444" sldId="2407"/>
            <ac:spMk id="3" creationId="{0388AFFD-3076-49B5-B0DE-559A52DA68A3}"/>
          </ac:spMkLst>
        </pc:spChg>
        <pc:spChg chg="mod">
          <ac:chgData name="van Leeuwen  Sara (VPPL)" userId="7a5f1df4-0dd0-4c9e-a72f-a035cf318af6" providerId="ADAL" clId="{AAA37DE2-93D3-44F8-BE87-C19EC6771CD3}" dt="2023-09-21T07:58:43.113" v="3912" actId="947"/>
          <ac:spMkLst>
            <pc:docMk/>
            <pc:sldMk cId="1578806444" sldId="2407"/>
            <ac:spMk id="4" creationId="{9CA1C58A-C168-4EDF-B8E5-CC4D577EF906}"/>
          </ac:spMkLst>
        </pc:spChg>
        <pc:spChg chg="mod">
          <ac:chgData name="van Leeuwen  Sara (VPPL)" userId="7a5f1df4-0dd0-4c9e-a72f-a035cf318af6" providerId="ADAL" clId="{AAA37DE2-93D3-44F8-BE87-C19EC6771CD3}" dt="2023-09-21T08:01:07.215" v="11731" actId="790"/>
          <ac:spMkLst>
            <pc:docMk/>
            <pc:sldMk cId="1578806444" sldId="2407"/>
            <ac:spMk id="5" creationId="{85D9BC9D-3DA7-45F6-B926-A87C277DD9F8}"/>
          </ac:spMkLst>
        </pc:spChg>
        <pc:spChg chg="mod">
          <ac:chgData name="van Leeuwen  Sara (VPPL)" userId="7a5f1df4-0dd0-4c9e-a72f-a035cf318af6" providerId="ADAL" clId="{AAA37DE2-93D3-44F8-BE87-C19EC6771CD3}" dt="2023-09-21T07:58:43.113" v="3916" actId="947"/>
          <ac:spMkLst>
            <pc:docMk/>
            <pc:sldMk cId="1578806444" sldId="2407"/>
            <ac:spMk id="6" creationId="{10B85623-378B-4EB9-AA11-55C1EBD36CD0}"/>
          </ac:spMkLst>
        </pc:spChg>
        <pc:spChg chg="add del mod modVis">
          <ac:chgData name="van Leeuwen  Sara (VPPL)" userId="7a5f1df4-0dd0-4c9e-a72f-a035cf318af6" providerId="ADAL" clId="{AAA37DE2-93D3-44F8-BE87-C19EC6771CD3}" dt="2023-09-21T08:01:08.141" v="15294" actId="478"/>
          <ac:spMkLst>
            <pc:docMk/>
            <pc:sldMk cId="1578806444" sldId="2407"/>
            <ac:spMk id="7" creationId="{7EAB922A-6A69-92D8-4964-3982B16C521F}"/>
          </ac:spMkLst>
        </pc:spChg>
        <pc:spChg chg="mod">
          <ac:chgData name="van Leeuwen  Sara (VPPL)" userId="7a5f1df4-0dd0-4c9e-a72f-a035cf318af6" providerId="ADAL" clId="{AAA37DE2-93D3-44F8-BE87-C19EC6771CD3}" dt="2023-09-21T07:58:43.129" v="3918" actId="947"/>
          <ac:spMkLst>
            <pc:docMk/>
            <pc:sldMk cId="1578806444" sldId="2407"/>
            <ac:spMk id="8" creationId="{3F810E95-1E33-40B3-B601-24721E2C7DA5}"/>
          </ac:spMkLst>
        </pc:spChg>
        <pc:graphicFrameChg chg="mod">
          <ac:chgData name="van Leeuwen  Sara (VPPL)" userId="7a5f1df4-0dd0-4c9e-a72f-a035cf318af6" providerId="ADAL" clId="{AAA37DE2-93D3-44F8-BE87-C19EC6771CD3}" dt="2023-09-21T08:01:08.329" v="15424"/>
          <ac:graphicFrameMkLst>
            <pc:docMk/>
            <pc:sldMk cId="1578806444" sldId="2407"/>
            <ac:graphicFrameMk id="10" creationId="{6E928AC6-A280-4B48-BF6E-F71D1C3E3167}"/>
          </ac:graphicFrameMkLst>
        </pc:graphicFrameChg>
      </pc:sldChg>
      <pc:sldChg chg="addSp delSp modSp mod modNotes">
        <pc:chgData name="van Leeuwen  Sara (VPPL)" userId="7a5f1df4-0dd0-4c9e-a72f-a035cf318af6" providerId="ADAL" clId="{AAA37DE2-93D3-44F8-BE87-C19EC6771CD3}" dt="2023-09-21T08:01:08.316" v="15420"/>
        <pc:sldMkLst>
          <pc:docMk/>
          <pc:sldMk cId="2354758104" sldId="2408"/>
        </pc:sldMkLst>
        <pc:spChg chg="mod">
          <ac:chgData name="van Leeuwen  Sara (VPPL)" userId="7a5f1df4-0dd0-4c9e-a72f-a035cf318af6" providerId="ADAL" clId="{AAA37DE2-93D3-44F8-BE87-C19EC6771CD3}" dt="2023-09-21T08:01:07.622" v="13363" actId="948"/>
          <ac:spMkLst>
            <pc:docMk/>
            <pc:sldMk cId="2354758104" sldId="2408"/>
            <ac:spMk id="2" creationId="{00000000-0000-0000-0000-000000000000}"/>
          </ac:spMkLst>
        </pc:spChg>
        <pc:spChg chg="add del mod modVis">
          <ac:chgData name="van Leeuwen  Sara (VPPL)" userId="7a5f1df4-0dd0-4c9e-a72f-a035cf318af6" providerId="ADAL" clId="{AAA37DE2-93D3-44F8-BE87-C19EC6771CD3}" dt="2023-09-21T08:01:08.115" v="15227" actId="478"/>
          <ac:spMkLst>
            <pc:docMk/>
            <pc:sldMk cId="2354758104" sldId="2408"/>
            <ac:spMk id="3" creationId="{F547A8A2-51D8-1806-2AEC-4BC70A85FEBA}"/>
          </ac:spMkLst>
        </pc:spChg>
        <pc:spChg chg="mod">
          <ac:chgData name="van Leeuwen  Sara (VPPL)" userId="7a5f1df4-0dd0-4c9e-a72f-a035cf318af6" providerId="ADAL" clId="{AAA37DE2-93D3-44F8-BE87-C19EC6771CD3}" dt="2023-09-21T07:58:43.492" v="4258" actId="947"/>
          <ac:spMkLst>
            <pc:docMk/>
            <pc:sldMk cId="2354758104" sldId="2408"/>
            <ac:spMk id="4" creationId="{00000000-0000-0000-0000-000000000000}"/>
          </ac:spMkLst>
        </pc:spChg>
        <pc:spChg chg="mod">
          <ac:chgData name="van Leeuwen  Sara (VPPL)" userId="7a5f1df4-0dd0-4c9e-a72f-a035cf318af6" providerId="ADAL" clId="{AAA37DE2-93D3-44F8-BE87-C19EC6771CD3}" dt="2023-09-21T07:58:43.492" v="4262" actId="947"/>
          <ac:spMkLst>
            <pc:docMk/>
            <pc:sldMk cId="2354758104" sldId="2408"/>
            <ac:spMk id="6" creationId="{00000000-0000-0000-0000-000000000000}"/>
          </ac:spMkLst>
        </pc:spChg>
        <pc:spChg chg="mod">
          <ac:chgData name="van Leeuwen  Sara (VPPL)" userId="7a5f1df4-0dd0-4c9e-a72f-a035cf318af6" providerId="ADAL" clId="{AAA37DE2-93D3-44F8-BE87-C19EC6771CD3}" dt="2023-09-21T08:01:07.291" v="12077" actId="790"/>
          <ac:spMkLst>
            <pc:docMk/>
            <pc:sldMk cId="2354758104" sldId="2408"/>
            <ac:spMk id="8" creationId="{D75AFB06-C0D5-C44A-AFA0-9276A7192873}"/>
          </ac:spMkLst>
        </pc:spChg>
        <pc:spChg chg="mod">
          <ac:chgData name="van Leeuwen  Sara (VPPL)" userId="7a5f1df4-0dd0-4c9e-a72f-a035cf318af6" providerId="ADAL" clId="{AAA37DE2-93D3-44F8-BE87-C19EC6771CD3}" dt="2023-09-21T08:01:07.291" v="12074" actId="20577"/>
          <ac:spMkLst>
            <pc:docMk/>
            <pc:sldMk cId="2354758104" sldId="2408"/>
            <ac:spMk id="9" creationId="{B6B24EFB-329E-4BDB-8682-2837E8093CA9}"/>
          </ac:spMkLst>
        </pc:spChg>
        <pc:spChg chg="mod">
          <ac:chgData name="van Leeuwen  Sara (VPPL)" userId="7a5f1df4-0dd0-4c9e-a72f-a035cf318af6" providerId="ADAL" clId="{AAA37DE2-93D3-44F8-BE87-C19EC6771CD3}" dt="2023-09-21T07:58:43.508" v="4296" actId="947"/>
          <ac:spMkLst>
            <pc:docMk/>
            <pc:sldMk cId="2354758104" sldId="2408"/>
            <ac:spMk id="11" creationId="{5EE19B10-BD32-4855-BF14-2D427D1BFDF4}"/>
          </ac:spMkLst>
        </pc:spChg>
        <pc:graphicFrameChg chg="mod">
          <ac:chgData name="van Leeuwen  Sara (VPPL)" userId="7a5f1df4-0dd0-4c9e-a72f-a035cf318af6" providerId="ADAL" clId="{AAA37DE2-93D3-44F8-BE87-C19EC6771CD3}" dt="2023-09-21T08:01:08.316" v="15420"/>
          <ac:graphicFrameMkLst>
            <pc:docMk/>
            <pc:sldMk cId="2354758104" sldId="2408"/>
            <ac:graphicFrameMk id="5" creationId="{4EFD790E-C509-15F3-A548-0254A67D74B6}"/>
          </ac:graphicFrameMkLst>
        </pc:graphicFrameChg>
        <pc:graphicFrameChg chg="modGraphic">
          <ac:chgData name="van Leeuwen  Sara (VPPL)" userId="7a5f1df4-0dd0-4c9e-a72f-a035cf318af6" providerId="ADAL" clId="{AAA37DE2-93D3-44F8-BE87-C19EC6771CD3}" dt="2023-09-21T07:58:43.508" v="4294" actId="947"/>
          <ac:graphicFrameMkLst>
            <pc:docMk/>
            <pc:sldMk cId="2354758104" sldId="2408"/>
            <ac:graphicFrameMk id="10" creationId="{9B7E8B9D-5F9A-4F11-B14F-FECAB6CF2579}"/>
          </ac:graphicFrameMkLst>
        </pc:graphicFrameChg>
      </pc:sldChg>
      <pc:sldChg chg="addSp delSp modSp add mod modNotes">
        <pc:chgData name="van Leeuwen  Sara (VPPL)" userId="7a5f1df4-0dd0-4c9e-a72f-a035cf318af6" providerId="ADAL" clId="{AAA37DE2-93D3-44F8-BE87-C19EC6771CD3}" dt="2023-09-21T08:01:08.282" v="15402"/>
        <pc:sldMkLst>
          <pc:docMk/>
          <pc:sldMk cId="1776128425" sldId="2412"/>
        </pc:sldMkLst>
        <pc:spChg chg="mod">
          <ac:chgData name="van Leeuwen  Sara (VPPL)" userId="7a5f1df4-0dd0-4c9e-a72f-a035cf318af6" providerId="ADAL" clId="{AAA37DE2-93D3-44F8-BE87-C19EC6771CD3}" dt="2023-09-21T08:01:07.559" v="13075" actId="948"/>
          <ac:spMkLst>
            <pc:docMk/>
            <pc:sldMk cId="1776128425" sldId="2412"/>
            <ac:spMk id="2" creationId="{FC65B3EF-08EF-432C-BEBF-CB2B499FB533}"/>
          </ac:spMkLst>
        </pc:spChg>
        <pc:spChg chg="mod">
          <ac:chgData name="van Leeuwen  Sara (VPPL)" userId="7a5f1df4-0dd0-4c9e-a72f-a035cf318af6" providerId="ADAL" clId="{AAA37DE2-93D3-44F8-BE87-C19EC6771CD3}" dt="2023-09-21T07:58:43.603" v="4398" actId="947"/>
          <ac:spMkLst>
            <pc:docMk/>
            <pc:sldMk cId="1776128425" sldId="2412"/>
            <ac:spMk id="3" creationId="{D248A836-D270-48AC-93BC-E789F2E8E734}"/>
          </ac:spMkLst>
        </pc:spChg>
        <pc:spChg chg="mod">
          <ac:chgData name="van Leeuwen  Sara (VPPL)" userId="7a5f1df4-0dd0-4c9e-a72f-a035cf318af6" providerId="ADAL" clId="{AAA37DE2-93D3-44F8-BE87-C19EC6771CD3}" dt="2023-09-21T07:58:43.603" v="4400" actId="947"/>
          <ac:spMkLst>
            <pc:docMk/>
            <pc:sldMk cId="1776128425" sldId="2412"/>
            <ac:spMk id="4" creationId="{305442D0-14ED-4C2A-A91B-14866EB77D60}"/>
          </ac:spMkLst>
        </pc:spChg>
        <pc:spChg chg="mod">
          <ac:chgData name="van Leeuwen  Sara (VPPL)" userId="7a5f1df4-0dd0-4c9e-a72f-a035cf318af6" providerId="ADAL" clId="{AAA37DE2-93D3-44F8-BE87-C19EC6771CD3}" dt="2023-09-21T08:01:07.315" v="12219" actId="790"/>
          <ac:spMkLst>
            <pc:docMk/>
            <pc:sldMk cId="1776128425" sldId="2412"/>
            <ac:spMk id="5" creationId="{B057CD9C-7E82-4EE5-8D4A-CF1F831FF9E4}"/>
          </ac:spMkLst>
        </pc:spChg>
        <pc:spChg chg="mod">
          <ac:chgData name="van Leeuwen  Sara (VPPL)" userId="7a5f1df4-0dd0-4c9e-a72f-a035cf318af6" providerId="ADAL" clId="{AAA37DE2-93D3-44F8-BE87-C19EC6771CD3}" dt="2023-09-21T07:58:43.603" v="4404" actId="947"/>
          <ac:spMkLst>
            <pc:docMk/>
            <pc:sldMk cId="1776128425" sldId="2412"/>
            <ac:spMk id="6" creationId="{727CB4E9-0DB2-4603-A8AD-72263838A1CA}"/>
          </ac:spMkLst>
        </pc:spChg>
        <pc:spChg chg="mod">
          <ac:chgData name="van Leeuwen  Sara (VPPL)" userId="7a5f1df4-0dd0-4c9e-a72f-a035cf318af6" providerId="ADAL" clId="{AAA37DE2-93D3-44F8-BE87-C19EC6771CD3}" dt="2023-09-21T08:01:07.315" v="12226" actId="20577"/>
          <ac:spMkLst>
            <pc:docMk/>
            <pc:sldMk cId="1776128425" sldId="2412"/>
            <ac:spMk id="7" creationId="{4EEF28D3-ECB8-4C59-9270-E65402E2F891}"/>
          </ac:spMkLst>
        </pc:spChg>
        <pc:spChg chg="mod">
          <ac:chgData name="van Leeuwen  Sara (VPPL)" userId="7a5f1df4-0dd0-4c9e-a72f-a035cf318af6" providerId="ADAL" clId="{AAA37DE2-93D3-44F8-BE87-C19EC6771CD3}" dt="2023-09-21T07:58:43.618" v="4412" actId="947"/>
          <ac:spMkLst>
            <pc:docMk/>
            <pc:sldMk cId="1776128425" sldId="2412"/>
            <ac:spMk id="9" creationId="{0E2807F2-D9BD-433B-B6EF-CF115AF7F215}"/>
          </ac:spMkLst>
        </pc:spChg>
        <pc:spChg chg="add del mod modVis">
          <ac:chgData name="van Leeuwen  Sara (VPPL)" userId="7a5f1df4-0dd0-4c9e-a72f-a035cf318af6" providerId="ADAL" clId="{AAA37DE2-93D3-44F8-BE87-C19EC6771CD3}" dt="2023-09-21T08:01:08.109" v="15211" actId="478"/>
          <ac:spMkLst>
            <pc:docMk/>
            <pc:sldMk cId="1776128425" sldId="2412"/>
            <ac:spMk id="11" creationId="{483B2BFC-FE1E-6772-819D-3E716E73DD3A}"/>
          </ac:spMkLst>
        </pc:spChg>
        <pc:spChg chg="mod">
          <ac:chgData name="van Leeuwen  Sara (VPPL)" userId="7a5f1df4-0dd0-4c9e-a72f-a035cf318af6" providerId="ADAL" clId="{AAA37DE2-93D3-44F8-BE87-C19EC6771CD3}" dt="2023-09-21T07:58:43.603" v="4410" actId="947"/>
          <ac:spMkLst>
            <pc:docMk/>
            <pc:sldMk cId="1776128425" sldId="2412"/>
            <ac:spMk id="13" creationId="{2B68A964-FCDE-4A36-85BA-08758536C95C}"/>
          </ac:spMkLst>
        </pc:spChg>
        <pc:graphicFrameChg chg="mod">
          <ac:chgData name="van Leeuwen  Sara (VPPL)" userId="7a5f1df4-0dd0-4c9e-a72f-a035cf318af6" providerId="ADAL" clId="{AAA37DE2-93D3-44F8-BE87-C19EC6771CD3}" dt="2023-09-21T08:01:08.282" v="15402"/>
          <ac:graphicFrameMkLst>
            <pc:docMk/>
            <pc:sldMk cId="1776128425" sldId="2412"/>
            <ac:graphicFrameMk id="15" creationId="{FDC0E8DE-1F70-9615-CBCD-D5F5B6F88FCD}"/>
          </ac:graphicFrameMkLst>
        </pc:graphicFrameChg>
      </pc:sldChg>
      <pc:sldChg chg="addSp delSp modSp mod modNotes">
        <pc:chgData name="van Leeuwen  Sara (VPPL)" userId="7a5f1df4-0dd0-4c9e-a72f-a035cf318af6" providerId="ADAL" clId="{AAA37DE2-93D3-44F8-BE87-C19EC6771CD3}" dt="2023-09-21T08:01:08.297" v="15414"/>
        <pc:sldMkLst>
          <pc:docMk/>
          <pc:sldMk cId="456252200" sldId="2414"/>
        </pc:sldMkLst>
        <pc:spChg chg="mod">
          <ac:chgData name="van Leeuwen  Sara (VPPL)" userId="7a5f1df4-0dd0-4c9e-a72f-a035cf318af6" providerId="ADAL" clId="{AAA37DE2-93D3-44F8-BE87-C19EC6771CD3}" dt="2023-09-21T08:01:07.622" v="13327" actId="948"/>
          <ac:spMkLst>
            <pc:docMk/>
            <pc:sldMk cId="456252200" sldId="2414"/>
            <ac:spMk id="2" creationId="{00000000-0000-0000-0000-000000000000}"/>
          </ac:spMkLst>
        </pc:spChg>
        <pc:spChg chg="add del mod modVis">
          <ac:chgData name="van Leeuwen  Sara (VPPL)" userId="7a5f1df4-0dd0-4c9e-a72f-a035cf318af6" providerId="ADAL" clId="{AAA37DE2-93D3-44F8-BE87-C19EC6771CD3}" dt="2023-09-21T08:01:08.115" v="15225" actId="478"/>
          <ac:spMkLst>
            <pc:docMk/>
            <pc:sldMk cId="456252200" sldId="2414"/>
            <ac:spMk id="3" creationId="{7F057320-A73D-2491-5F89-F2BC24CA47C7}"/>
          </ac:spMkLst>
        </pc:spChg>
        <pc:spChg chg="mod">
          <ac:chgData name="van Leeuwen  Sara (VPPL)" userId="7a5f1df4-0dd0-4c9e-a72f-a035cf318af6" providerId="ADAL" clId="{AAA37DE2-93D3-44F8-BE87-C19EC6771CD3}" dt="2023-09-21T07:58:43.523" v="4304" actId="947"/>
          <ac:spMkLst>
            <pc:docMk/>
            <pc:sldMk cId="456252200" sldId="2414"/>
            <ac:spMk id="4" creationId="{00000000-0000-0000-0000-000000000000}"/>
          </ac:spMkLst>
        </pc:spChg>
        <pc:spChg chg="mod">
          <ac:chgData name="van Leeuwen  Sara (VPPL)" userId="7a5f1df4-0dd0-4c9e-a72f-a035cf318af6" providerId="ADAL" clId="{AAA37DE2-93D3-44F8-BE87-C19EC6771CD3}" dt="2023-09-21T07:58:43.523" v="4308" actId="947"/>
          <ac:spMkLst>
            <pc:docMk/>
            <pc:sldMk cId="456252200" sldId="2414"/>
            <ac:spMk id="6" creationId="{00000000-0000-0000-0000-000000000000}"/>
          </ac:spMkLst>
        </pc:spChg>
        <pc:spChg chg="mod">
          <ac:chgData name="van Leeuwen  Sara (VPPL)" userId="7a5f1df4-0dd0-4c9e-a72f-a035cf318af6" providerId="ADAL" clId="{AAA37DE2-93D3-44F8-BE87-C19EC6771CD3}" dt="2023-09-21T08:01:07.307" v="12123" actId="790"/>
          <ac:spMkLst>
            <pc:docMk/>
            <pc:sldMk cId="456252200" sldId="2414"/>
            <ac:spMk id="8" creationId="{D75AFB06-C0D5-C44A-AFA0-9276A7192873}"/>
          </ac:spMkLst>
        </pc:spChg>
        <pc:spChg chg="mod">
          <ac:chgData name="van Leeuwen  Sara (VPPL)" userId="7a5f1df4-0dd0-4c9e-a72f-a035cf318af6" providerId="ADAL" clId="{AAA37DE2-93D3-44F8-BE87-C19EC6771CD3}" dt="2023-09-21T08:01:07.307" v="12120" actId="20577"/>
          <ac:spMkLst>
            <pc:docMk/>
            <pc:sldMk cId="456252200" sldId="2414"/>
            <ac:spMk id="9" creationId="{B6B24EFB-329E-4BDB-8682-2837E8093CA9}"/>
          </ac:spMkLst>
        </pc:spChg>
        <pc:spChg chg="mod">
          <ac:chgData name="van Leeuwen  Sara (VPPL)" userId="7a5f1df4-0dd0-4c9e-a72f-a035cf318af6" providerId="ADAL" clId="{AAA37DE2-93D3-44F8-BE87-C19EC6771CD3}" dt="2023-09-21T07:58:43.555" v="4350" actId="947"/>
          <ac:spMkLst>
            <pc:docMk/>
            <pc:sldMk cId="456252200" sldId="2414"/>
            <ac:spMk id="11" creationId="{C3F031D6-7BD2-412A-AA1B-F883BFF23D67}"/>
          </ac:spMkLst>
        </pc:spChg>
        <pc:graphicFrameChg chg="mod">
          <ac:chgData name="van Leeuwen  Sara (VPPL)" userId="7a5f1df4-0dd0-4c9e-a72f-a035cf318af6" providerId="ADAL" clId="{AAA37DE2-93D3-44F8-BE87-C19EC6771CD3}" dt="2023-09-21T08:01:08.297" v="15414"/>
          <ac:graphicFrameMkLst>
            <pc:docMk/>
            <pc:sldMk cId="456252200" sldId="2414"/>
            <ac:graphicFrameMk id="5" creationId="{352B7F9C-4708-5E59-B06E-6196636E28CD}"/>
          </ac:graphicFrameMkLst>
        </pc:graphicFrameChg>
        <pc:graphicFrameChg chg="modGraphic">
          <ac:chgData name="van Leeuwen  Sara (VPPL)" userId="7a5f1df4-0dd0-4c9e-a72f-a035cf318af6" providerId="ADAL" clId="{AAA37DE2-93D3-44F8-BE87-C19EC6771CD3}" dt="2023-09-21T07:58:43.571" v="4382" actId="947"/>
          <ac:graphicFrameMkLst>
            <pc:docMk/>
            <pc:sldMk cId="456252200" sldId="2414"/>
            <ac:graphicFrameMk id="7" creationId="{E28215B8-1D8F-71F5-5163-55814B542277}"/>
          </ac:graphicFrameMkLst>
        </pc:graphicFrameChg>
        <pc:graphicFrameChg chg="modGraphic">
          <ac:chgData name="van Leeuwen  Sara (VPPL)" userId="7a5f1df4-0dd0-4c9e-a72f-a035cf318af6" providerId="ADAL" clId="{AAA37DE2-93D3-44F8-BE87-C19EC6771CD3}" dt="2023-09-21T07:58:43.555" v="4348" actId="947"/>
          <ac:graphicFrameMkLst>
            <pc:docMk/>
            <pc:sldMk cId="456252200" sldId="2414"/>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16" v="15418"/>
        <pc:sldMkLst>
          <pc:docMk/>
          <pc:sldMk cId="1201837209" sldId="2415"/>
        </pc:sldMkLst>
        <pc:spChg chg="mod">
          <ac:chgData name="van Leeuwen  Sara (VPPL)" userId="7a5f1df4-0dd0-4c9e-a72f-a035cf318af6" providerId="ADAL" clId="{AAA37DE2-93D3-44F8-BE87-C19EC6771CD3}" dt="2023-09-21T08:01:07.653" v="13471" actId="948"/>
          <ac:spMkLst>
            <pc:docMk/>
            <pc:sldMk cId="1201837209" sldId="2415"/>
            <ac:spMk id="2" creationId="{00000000-0000-0000-0000-000000000000}"/>
          </ac:spMkLst>
        </pc:spChg>
        <pc:spChg chg="add del mod modVis">
          <ac:chgData name="van Leeuwen  Sara (VPPL)" userId="7a5f1df4-0dd0-4c9e-a72f-a035cf318af6" providerId="ADAL" clId="{AAA37DE2-93D3-44F8-BE87-C19EC6771CD3}" dt="2023-09-21T08:01:08.115" v="15233" actId="478"/>
          <ac:spMkLst>
            <pc:docMk/>
            <pc:sldMk cId="1201837209" sldId="2415"/>
            <ac:spMk id="3" creationId="{635B42AB-7EF8-EC6A-B3D5-481DFEB5C1D9}"/>
          </ac:spMkLst>
        </pc:spChg>
        <pc:spChg chg="mod">
          <ac:chgData name="van Leeuwen  Sara (VPPL)" userId="7a5f1df4-0dd0-4c9e-a72f-a035cf318af6" providerId="ADAL" clId="{AAA37DE2-93D3-44F8-BE87-C19EC6771CD3}" dt="2023-09-21T07:58:43.634" v="4420" actId="947"/>
          <ac:spMkLst>
            <pc:docMk/>
            <pc:sldMk cId="1201837209" sldId="2415"/>
            <ac:spMk id="4" creationId="{00000000-0000-0000-0000-000000000000}"/>
          </ac:spMkLst>
        </pc:spChg>
        <pc:spChg chg="mod">
          <ac:chgData name="van Leeuwen  Sara (VPPL)" userId="7a5f1df4-0dd0-4c9e-a72f-a035cf318af6" providerId="ADAL" clId="{AAA37DE2-93D3-44F8-BE87-C19EC6771CD3}" dt="2023-09-21T07:58:43.639" v="4424" actId="947"/>
          <ac:spMkLst>
            <pc:docMk/>
            <pc:sldMk cId="1201837209" sldId="2415"/>
            <ac:spMk id="6" creationId="{00000000-0000-0000-0000-000000000000}"/>
          </ac:spMkLst>
        </pc:spChg>
        <pc:spChg chg="mod">
          <ac:chgData name="van Leeuwen  Sara (VPPL)" userId="7a5f1df4-0dd0-4c9e-a72f-a035cf318af6" providerId="ADAL" clId="{AAA37DE2-93D3-44F8-BE87-C19EC6771CD3}" dt="2023-09-21T08:01:07.315" v="12239" actId="790"/>
          <ac:spMkLst>
            <pc:docMk/>
            <pc:sldMk cId="1201837209" sldId="2415"/>
            <ac:spMk id="8" creationId="{D75AFB06-C0D5-C44A-AFA0-9276A7192873}"/>
          </ac:spMkLst>
        </pc:spChg>
        <pc:spChg chg="mod">
          <ac:chgData name="van Leeuwen  Sara (VPPL)" userId="7a5f1df4-0dd0-4c9e-a72f-a035cf318af6" providerId="ADAL" clId="{AAA37DE2-93D3-44F8-BE87-C19EC6771CD3}" dt="2023-09-21T08:01:07.315" v="12236" actId="20577"/>
          <ac:spMkLst>
            <pc:docMk/>
            <pc:sldMk cId="1201837209" sldId="2415"/>
            <ac:spMk id="9" creationId="{B6B24EFB-329E-4BDB-8682-2837E8093CA9}"/>
          </ac:spMkLst>
        </pc:spChg>
        <pc:spChg chg="mod">
          <ac:chgData name="van Leeuwen  Sara (VPPL)" userId="7a5f1df4-0dd0-4c9e-a72f-a035cf318af6" providerId="ADAL" clId="{AAA37DE2-93D3-44F8-BE87-C19EC6771CD3}" dt="2023-09-21T07:58:43.650" v="4466" actId="947"/>
          <ac:spMkLst>
            <pc:docMk/>
            <pc:sldMk cId="1201837209" sldId="2415"/>
            <ac:spMk id="11" creationId="{92267456-644C-4ABD-8DF8-DD133671384B}"/>
          </ac:spMkLst>
        </pc:spChg>
        <pc:graphicFrameChg chg="mod">
          <ac:chgData name="van Leeuwen  Sara (VPPL)" userId="7a5f1df4-0dd0-4c9e-a72f-a035cf318af6" providerId="ADAL" clId="{AAA37DE2-93D3-44F8-BE87-C19EC6771CD3}" dt="2023-09-21T08:01:08.316" v="15418"/>
          <ac:graphicFrameMkLst>
            <pc:docMk/>
            <pc:sldMk cId="1201837209" sldId="2415"/>
            <ac:graphicFrameMk id="5" creationId="{4157157A-A2E8-B94D-C3CB-8D20769C6F21}"/>
          </ac:graphicFrameMkLst>
        </pc:graphicFrameChg>
        <pc:graphicFrameChg chg="modGraphic">
          <ac:chgData name="van Leeuwen  Sara (VPPL)" userId="7a5f1df4-0dd0-4c9e-a72f-a035cf318af6" providerId="ADAL" clId="{AAA37DE2-93D3-44F8-BE87-C19EC6771CD3}" dt="2023-09-21T07:58:43.666" v="4498" actId="947"/>
          <ac:graphicFrameMkLst>
            <pc:docMk/>
            <pc:sldMk cId="1201837209" sldId="2415"/>
            <ac:graphicFrameMk id="7" creationId="{CB071684-A6F4-AD2D-614B-7C0DA5000E7A}"/>
          </ac:graphicFrameMkLst>
        </pc:graphicFrameChg>
        <pc:graphicFrameChg chg="modGraphic">
          <ac:chgData name="van Leeuwen  Sara (VPPL)" userId="7a5f1df4-0dd0-4c9e-a72f-a035cf318af6" providerId="ADAL" clId="{AAA37DE2-93D3-44F8-BE87-C19EC6771CD3}" dt="2023-09-21T07:58:43.650" v="4464" actId="947"/>
          <ac:graphicFrameMkLst>
            <pc:docMk/>
            <pc:sldMk cId="1201837209" sldId="2415"/>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76" v="15452"/>
        <pc:sldMkLst>
          <pc:docMk/>
          <pc:sldMk cId="1257036896" sldId="2421"/>
        </pc:sldMkLst>
        <pc:spChg chg="add del mod modVis">
          <ac:chgData name="van Leeuwen  Sara (VPPL)" userId="7a5f1df4-0dd0-4c9e-a72f-a035cf318af6" providerId="ADAL" clId="{AAA37DE2-93D3-44F8-BE87-C19EC6771CD3}" dt="2023-09-21T08:01:08.141" v="15321" actId="478"/>
          <ac:spMkLst>
            <pc:docMk/>
            <pc:sldMk cId="1257036896" sldId="2421"/>
            <ac:spMk id="2" creationId="{1B545750-79F0-1FF4-4BE3-A59713994FC2}"/>
          </ac:spMkLst>
        </pc:spChg>
        <pc:spChg chg="add del mod modVis">
          <ac:chgData name="van Leeuwen  Sara (VPPL)" userId="7a5f1df4-0dd0-4c9e-a72f-a035cf318af6" providerId="ADAL" clId="{AAA37DE2-93D3-44F8-BE87-C19EC6771CD3}" dt="2023-09-20T12:12:47.257" v="1159"/>
          <ac:spMkLst>
            <pc:docMk/>
            <pc:sldMk cId="1257036896" sldId="2421"/>
            <ac:spMk id="2" creationId="{429AE71A-5D8A-BD75-DA0F-714D683A8773}"/>
          </ac:spMkLst>
        </pc:spChg>
        <pc:spChg chg="mod">
          <ac:chgData name="van Leeuwen  Sara (VPPL)" userId="7a5f1df4-0dd0-4c9e-a72f-a035cf318af6" providerId="ADAL" clId="{AAA37DE2-93D3-44F8-BE87-C19EC6771CD3}" dt="2023-09-21T07:58:43.681" v="4504" actId="947"/>
          <ac:spMkLst>
            <pc:docMk/>
            <pc:sldMk cId="1257036896" sldId="2421"/>
            <ac:spMk id="4" creationId="{FA5818C9-C9D1-48A7-9FE3-27F36290F121}"/>
          </ac:spMkLst>
        </pc:spChg>
        <pc:spChg chg="mod">
          <ac:chgData name="van Leeuwen  Sara (VPPL)" userId="7a5f1df4-0dd0-4c9e-a72f-a035cf318af6" providerId="ADAL" clId="{AAA37DE2-93D3-44F8-BE87-C19EC6771CD3}" dt="2023-09-21T08:01:07.323" v="12323" actId="790"/>
          <ac:spMkLst>
            <pc:docMk/>
            <pc:sldMk cId="1257036896" sldId="2421"/>
            <ac:spMk id="5" creationId="{B4E16BDA-60AE-4049-B980-EBCC04B91BB3}"/>
          </ac:spMkLst>
        </pc:spChg>
        <pc:spChg chg="mod">
          <ac:chgData name="van Leeuwen  Sara (VPPL)" userId="7a5f1df4-0dd0-4c9e-a72f-a035cf318af6" providerId="ADAL" clId="{AAA37DE2-93D3-44F8-BE87-C19EC6771CD3}" dt="2023-09-21T07:58:43.681" v="4508" actId="947"/>
          <ac:spMkLst>
            <pc:docMk/>
            <pc:sldMk cId="1257036896" sldId="2421"/>
            <ac:spMk id="6" creationId="{CCDE28A4-0308-43D9-927A-710ACA164CBA}"/>
          </ac:spMkLst>
        </pc:spChg>
        <pc:spChg chg="mod">
          <ac:chgData name="van Leeuwen  Sara (VPPL)" userId="7a5f1df4-0dd0-4c9e-a72f-a035cf318af6" providerId="ADAL" clId="{AAA37DE2-93D3-44F8-BE87-C19EC6771CD3}" dt="2023-09-21T08:01:08.062" v="14992" actId="948"/>
          <ac:spMkLst>
            <pc:docMk/>
            <pc:sldMk cId="1257036896" sldId="2421"/>
            <ac:spMk id="8" creationId="{7615A340-A42F-4355-AF9F-1FA9C8C871B5}"/>
          </ac:spMkLst>
        </pc:spChg>
        <pc:spChg chg="mod">
          <ac:chgData name="van Leeuwen  Sara (VPPL)" userId="7a5f1df4-0dd0-4c9e-a72f-a035cf318af6" providerId="ADAL" clId="{AAA37DE2-93D3-44F8-BE87-C19EC6771CD3}" dt="2023-09-21T07:58:43.681" v="4502" actId="947"/>
          <ac:spMkLst>
            <pc:docMk/>
            <pc:sldMk cId="1257036896" sldId="2421"/>
            <ac:spMk id="9" creationId="{9209AE63-3AA5-4052-B998-05A99361B659}"/>
          </ac:spMkLst>
        </pc:spChg>
        <pc:spChg chg="mod">
          <ac:chgData name="van Leeuwen  Sara (VPPL)" userId="7a5f1df4-0dd0-4c9e-a72f-a035cf318af6" providerId="ADAL" clId="{AAA37DE2-93D3-44F8-BE87-C19EC6771CD3}" dt="2023-09-21T07:58:43.681" v="4510" actId="947"/>
          <ac:spMkLst>
            <pc:docMk/>
            <pc:sldMk cId="1257036896" sldId="2421"/>
            <ac:spMk id="10" creationId="{EDBD1B4F-7081-4E51-8198-482E2FAE9322}"/>
          </ac:spMkLst>
        </pc:spChg>
        <pc:graphicFrameChg chg="mod">
          <ac:chgData name="van Leeuwen  Sara (VPPL)" userId="7a5f1df4-0dd0-4c9e-a72f-a035cf318af6" providerId="ADAL" clId="{AAA37DE2-93D3-44F8-BE87-C19EC6771CD3}" dt="2023-09-21T08:01:08.376" v="15452"/>
          <ac:graphicFrameMkLst>
            <pc:docMk/>
            <pc:sldMk cId="1257036896" sldId="2421"/>
            <ac:graphicFrameMk id="3" creationId="{5755A7B0-3099-8ED9-DD67-7FDA65BEA332}"/>
          </ac:graphicFrameMkLst>
        </pc:graphicFrameChg>
      </pc:sldChg>
      <pc:sldChg chg="modSp mod modNotes">
        <pc:chgData name="van Leeuwen  Sara (VPPL)" userId="7a5f1df4-0dd0-4c9e-a72f-a035cf318af6" providerId="ADAL" clId="{AAA37DE2-93D3-44F8-BE87-C19EC6771CD3}" dt="2023-09-21T08:01:08.407" v="15464"/>
        <pc:sldMkLst>
          <pc:docMk/>
          <pc:sldMk cId="2330390072" sldId="2422"/>
        </pc:sldMkLst>
        <pc:spChg chg="mod">
          <ac:chgData name="van Leeuwen  Sara (VPPL)" userId="7a5f1df4-0dd0-4c9e-a72f-a035cf318af6" providerId="ADAL" clId="{AAA37DE2-93D3-44F8-BE87-C19EC6771CD3}" dt="2023-09-21T08:01:08.093" v="15172" actId="948"/>
          <ac:spMkLst>
            <pc:docMk/>
            <pc:sldMk cId="2330390072" sldId="2422"/>
            <ac:spMk id="2" creationId="{16DDB4A8-8E54-4562-8121-37460FF81563}"/>
          </ac:spMkLst>
        </pc:spChg>
        <pc:spChg chg="mod">
          <ac:chgData name="van Leeuwen  Sara (VPPL)" userId="7a5f1df4-0dd0-4c9e-a72f-a035cf318af6" providerId="ADAL" clId="{AAA37DE2-93D3-44F8-BE87-C19EC6771CD3}" dt="2023-09-21T07:58:43.808" v="4626" actId="947"/>
          <ac:spMkLst>
            <pc:docMk/>
            <pc:sldMk cId="2330390072" sldId="2422"/>
            <ac:spMk id="4" creationId="{FBA991CE-06F3-4A2A-8685-B91781527155}"/>
          </ac:spMkLst>
        </pc:spChg>
        <pc:spChg chg="mod">
          <ac:chgData name="van Leeuwen  Sara (VPPL)" userId="7a5f1df4-0dd0-4c9e-a72f-a035cf318af6" providerId="ADAL" clId="{AAA37DE2-93D3-44F8-BE87-C19EC6771CD3}" dt="2023-09-21T08:01:07.354" v="12449" actId="790"/>
          <ac:spMkLst>
            <pc:docMk/>
            <pc:sldMk cId="2330390072" sldId="2422"/>
            <ac:spMk id="5" creationId="{C7C6DBEA-F9A0-0BC9-25A5-9839A8F2523A}"/>
          </ac:spMkLst>
        </pc:spChg>
        <pc:spChg chg="mod">
          <ac:chgData name="van Leeuwen  Sara (VPPL)" userId="7a5f1df4-0dd0-4c9e-a72f-a035cf318af6" providerId="ADAL" clId="{AAA37DE2-93D3-44F8-BE87-C19EC6771CD3}" dt="2023-09-21T07:58:43.808" v="4628" actId="947"/>
          <ac:spMkLst>
            <pc:docMk/>
            <pc:sldMk cId="2330390072" sldId="2422"/>
            <ac:spMk id="6" creationId="{248C7CDF-0D2B-474C-A3C5-68C2D15B5AD7}"/>
          </ac:spMkLst>
        </pc:spChg>
        <pc:spChg chg="mod">
          <ac:chgData name="van Leeuwen  Sara (VPPL)" userId="7a5f1df4-0dd0-4c9e-a72f-a035cf318af6" providerId="ADAL" clId="{AAA37DE2-93D3-44F8-BE87-C19EC6771CD3}" dt="2023-09-21T07:58:43.808" v="4630" actId="947"/>
          <ac:spMkLst>
            <pc:docMk/>
            <pc:sldMk cId="2330390072" sldId="2422"/>
            <ac:spMk id="7" creationId="{56FF9BC1-A8A7-4A3F-A30B-3C00629A68E8}"/>
          </ac:spMkLst>
        </pc:spChg>
        <pc:graphicFrameChg chg="mod">
          <ac:chgData name="van Leeuwen  Sara (VPPL)" userId="7a5f1df4-0dd0-4c9e-a72f-a035cf318af6" providerId="ADAL" clId="{AAA37DE2-93D3-44F8-BE87-C19EC6771CD3}" dt="2023-09-21T08:01:08.407" v="15464"/>
          <ac:graphicFrameMkLst>
            <pc:docMk/>
            <pc:sldMk cId="2330390072" sldId="2422"/>
            <ac:graphicFrameMk id="3" creationId="{43CDCEE2-AAC6-003F-0A1F-30A6BCABF5A5}"/>
          </ac:graphicFrameMkLst>
        </pc:graphicFrameChg>
      </pc:sldChg>
      <pc:sldChg chg="addSp delSp modSp mod modNotes">
        <pc:chgData name="van Leeuwen  Sara (VPPL)" userId="7a5f1df4-0dd0-4c9e-a72f-a035cf318af6" providerId="ADAL" clId="{AAA37DE2-93D3-44F8-BE87-C19EC6771CD3}" dt="2023-09-21T09:45:13.436" v="17447" actId="1036"/>
        <pc:sldMkLst>
          <pc:docMk/>
          <pc:sldMk cId="3512549865" sldId="2427"/>
        </pc:sldMkLst>
        <pc:spChg chg="mod">
          <ac:chgData name="van Leeuwen  Sara (VPPL)" userId="7a5f1df4-0dd0-4c9e-a72f-a035cf318af6" providerId="ADAL" clId="{AAA37DE2-93D3-44F8-BE87-C19EC6771CD3}" dt="2023-09-21T08:01:07.999" v="14674" actId="948"/>
          <ac:spMkLst>
            <pc:docMk/>
            <pc:sldMk cId="3512549865" sldId="2427"/>
            <ac:spMk id="2" creationId="{00000000-0000-0000-0000-000000000000}"/>
          </ac:spMkLst>
        </pc:spChg>
        <pc:spChg chg="add del mod modVis">
          <ac:chgData name="van Leeuwen  Sara (VPPL)" userId="7a5f1df4-0dd0-4c9e-a72f-a035cf318af6" providerId="ADAL" clId="{AAA37DE2-93D3-44F8-BE87-C19EC6771CD3}" dt="2023-09-20T13:49:59.228" v="2272"/>
          <ac:spMkLst>
            <pc:docMk/>
            <pc:sldMk cId="3512549865" sldId="2427"/>
            <ac:spMk id="3" creationId="{8FDD6043-6A84-CFC8-CFFC-A5ED9134F24B}"/>
          </ac:spMkLst>
        </pc:spChg>
        <pc:spChg chg="add del mod modVis">
          <ac:chgData name="van Leeuwen  Sara (VPPL)" userId="7a5f1df4-0dd0-4c9e-a72f-a035cf318af6" providerId="ADAL" clId="{AAA37DE2-93D3-44F8-BE87-C19EC6771CD3}" dt="2023-09-21T08:01:08.141" v="15304" actId="478"/>
          <ac:spMkLst>
            <pc:docMk/>
            <pc:sldMk cId="3512549865" sldId="2427"/>
            <ac:spMk id="3" creationId="{B2585A70-BAD0-A4CB-7EEC-BE5B4A8A047A}"/>
          </ac:spMkLst>
        </pc:spChg>
        <pc:spChg chg="mod">
          <ac:chgData name="van Leeuwen  Sara (VPPL)" userId="7a5f1df4-0dd0-4c9e-a72f-a035cf318af6" providerId="ADAL" clId="{AAA37DE2-93D3-44F8-BE87-C19EC6771CD3}" dt="2023-09-21T07:58:43.239" v="4036" actId="947"/>
          <ac:spMkLst>
            <pc:docMk/>
            <pc:sldMk cId="3512549865" sldId="2427"/>
            <ac:spMk id="4" creationId="{00000000-0000-0000-0000-000000000000}"/>
          </ac:spMkLst>
        </pc:spChg>
        <pc:spChg chg="mod">
          <ac:chgData name="van Leeuwen  Sara (VPPL)" userId="7a5f1df4-0dd0-4c9e-a72f-a035cf318af6" providerId="ADAL" clId="{AAA37DE2-93D3-44F8-BE87-C19EC6771CD3}" dt="2023-09-21T07:58:43.239" v="4040" actId="947"/>
          <ac:spMkLst>
            <pc:docMk/>
            <pc:sldMk cId="3512549865" sldId="2427"/>
            <ac:spMk id="6" creationId="{00000000-0000-0000-0000-000000000000}"/>
          </ac:spMkLst>
        </pc:spChg>
        <pc:spChg chg="del">
          <ac:chgData name="van Leeuwen  Sara (VPPL)" userId="7a5f1df4-0dd0-4c9e-a72f-a035cf318af6" providerId="ADAL" clId="{AAA37DE2-93D3-44F8-BE87-C19EC6771CD3}" dt="2023-09-21T07:46:55.915" v="3732" actId="478"/>
          <ac:spMkLst>
            <pc:docMk/>
            <pc:sldMk cId="3512549865" sldId="2427"/>
            <ac:spMk id="7" creationId="{571C5360-E19F-39FB-D866-E8AD9E9A43CA}"/>
          </ac:spMkLst>
        </pc:spChg>
        <pc:spChg chg="mod">
          <ac:chgData name="van Leeuwen  Sara (VPPL)" userId="7a5f1df4-0dd0-4c9e-a72f-a035cf318af6" providerId="ADAL" clId="{AAA37DE2-93D3-44F8-BE87-C19EC6771CD3}" dt="2023-09-21T08:01:07.244" v="11855" actId="790"/>
          <ac:spMkLst>
            <pc:docMk/>
            <pc:sldMk cId="3512549865" sldId="2427"/>
            <ac:spMk id="8" creationId="{D75AFB06-C0D5-C44A-AFA0-9276A7192873}"/>
          </ac:spMkLst>
        </pc:spChg>
        <pc:spChg chg="mod">
          <ac:chgData name="van Leeuwen  Sara (VPPL)" userId="7a5f1df4-0dd0-4c9e-a72f-a035cf318af6" providerId="ADAL" clId="{AAA37DE2-93D3-44F8-BE87-C19EC6771CD3}" dt="2023-09-21T07:58:43.239" v="4042" actId="947"/>
          <ac:spMkLst>
            <pc:docMk/>
            <pc:sldMk cId="3512549865" sldId="2427"/>
            <ac:spMk id="11" creationId="{D546C90B-D125-48EE-A1FF-3334FE6CA27A}"/>
          </ac:spMkLst>
        </pc:spChg>
        <pc:graphicFrameChg chg="mod">
          <ac:chgData name="van Leeuwen  Sara (VPPL)" userId="7a5f1df4-0dd0-4c9e-a72f-a035cf318af6" providerId="ADAL" clId="{AAA37DE2-93D3-44F8-BE87-C19EC6771CD3}" dt="2023-09-21T08:01:08.345" v="15434"/>
          <ac:graphicFrameMkLst>
            <pc:docMk/>
            <pc:sldMk cId="3512549865" sldId="2427"/>
            <ac:graphicFrameMk id="5" creationId="{36BFE735-7DEC-F7BC-933D-DAC2EC342B0C}"/>
          </ac:graphicFrameMkLst>
        </pc:graphicFrameChg>
        <pc:graphicFrameChg chg="mod modGraphic">
          <ac:chgData name="van Leeuwen  Sara (VPPL)" userId="7a5f1df4-0dd0-4c9e-a72f-a035cf318af6" providerId="ADAL" clId="{AAA37DE2-93D3-44F8-BE87-C19EC6771CD3}" dt="2023-09-21T09:45:13.436" v="17447" actId="1036"/>
          <ac:graphicFrameMkLst>
            <pc:docMk/>
            <pc:sldMk cId="3512549865" sldId="2427"/>
            <ac:graphicFrameMk id="10" creationId="{9B7E8B9D-5F9A-4F11-B14F-FECAB6CF2579}"/>
          </ac:graphicFrameMkLst>
        </pc:graphicFrameChg>
      </pc:sldChg>
      <pc:sldChg chg="modSp mod modNotes">
        <pc:chgData name="van Leeuwen  Sara (VPPL)" userId="7a5f1df4-0dd0-4c9e-a72f-a035cf318af6" providerId="ADAL" clId="{AAA37DE2-93D3-44F8-BE87-C19EC6771CD3}" dt="2023-09-21T08:01:08.360" v="15446"/>
        <pc:sldMkLst>
          <pc:docMk/>
          <pc:sldMk cId="689743388" sldId="2428"/>
        </pc:sldMkLst>
        <pc:spChg chg="mod">
          <ac:chgData name="van Leeuwen  Sara (VPPL)" userId="7a5f1df4-0dd0-4c9e-a72f-a035cf318af6" providerId="ADAL" clId="{AAA37DE2-93D3-44F8-BE87-C19EC6771CD3}" dt="2023-09-21T07:58:43.349" v="4136" actId="947"/>
          <ac:spMkLst>
            <pc:docMk/>
            <pc:sldMk cId="689743388" sldId="2428"/>
            <ac:spMk id="4" creationId="{1C64F35D-60B1-47E8-8AA1-15FBD62E6694}"/>
          </ac:spMkLst>
        </pc:spChg>
        <pc:spChg chg="mod">
          <ac:chgData name="van Leeuwen  Sara (VPPL)" userId="7a5f1df4-0dd0-4c9e-a72f-a035cf318af6" providerId="ADAL" clId="{AAA37DE2-93D3-44F8-BE87-C19EC6771CD3}" dt="2023-09-21T07:58:43.349" v="4138" actId="947"/>
          <ac:spMkLst>
            <pc:docMk/>
            <pc:sldMk cId="689743388" sldId="2428"/>
            <ac:spMk id="5" creationId="{FFE3D09D-A5EF-4DB0-8BAE-BBD2BA7E76E2}"/>
          </ac:spMkLst>
        </pc:spChg>
        <pc:spChg chg="mod">
          <ac:chgData name="van Leeuwen  Sara (VPPL)" userId="7a5f1df4-0dd0-4c9e-a72f-a035cf318af6" providerId="ADAL" clId="{AAA37DE2-93D3-44F8-BE87-C19EC6771CD3}" dt="2023-09-21T07:58:43.365" v="4140" actId="947"/>
          <ac:spMkLst>
            <pc:docMk/>
            <pc:sldMk cId="689743388" sldId="2428"/>
            <ac:spMk id="6" creationId="{CFEE8961-1778-43E5-8D01-676802966A39}"/>
          </ac:spMkLst>
        </pc:spChg>
        <pc:spChg chg="mod">
          <ac:chgData name="van Leeuwen  Sara (VPPL)" userId="7a5f1df4-0dd0-4c9e-a72f-a035cf318af6" providerId="ADAL" clId="{AAA37DE2-93D3-44F8-BE87-C19EC6771CD3}" dt="2023-09-21T07:58:43.349" v="4134" actId="947"/>
          <ac:spMkLst>
            <pc:docMk/>
            <pc:sldMk cId="689743388" sldId="2428"/>
            <ac:spMk id="8" creationId="{AC1FB292-90C1-439C-8480-EB4116CF2374}"/>
          </ac:spMkLst>
        </pc:spChg>
        <pc:graphicFrameChg chg="mod">
          <ac:chgData name="van Leeuwen  Sara (VPPL)" userId="7a5f1df4-0dd0-4c9e-a72f-a035cf318af6" providerId="ADAL" clId="{AAA37DE2-93D3-44F8-BE87-C19EC6771CD3}" dt="2023-09-21T08:01:08.360" v="15446"/>
          <ac:graphicFrameMkLst>
            <pc:docMk/>
            <pc:sldMk cId="689743388" sldId="2428"/>
            <ac:graphicFrameMk id="3" creationId="{D0BD25E6-FA1C-5484-3331-B91F0F7B9647}"/>
          </ac:graphicFrameMkLst>
        </pc:graphicFrameChg>
      </pc:sldChg>
      <pc:sldChg chg="addSp delSp modSp mod modNotes">
        <pc:chgData name="van Leeuwen  Sara (VPPL)" userId="7a5f1df4-0dd0-4c9e-a72f-a035cf318af6" providerId="ADAL" clId="{AAA37DE2-93D3-44F8-BE87-C19EC6771CD3}" dt="2023-09-21T09:26:55.594" v="17382"/>
        <pc:sldMkLst>
          <pc:docMk/>
          <pc:sldMk cId="1289117044" sldId="2431"/>
        </pc:sldMkLst>
        <pc:spChg chg="mod">
          <ac:chgData name="van Leeuwen  Sara (VPPL)" userId="7a5f1df4-0dd0-4c9e-a72f-a035cf318af6" providerId="ADAL" clId="{AAA37DE2-93D3-44F8-BE87-C19EC6771CD3}" dt="2023-09-21T09:26:55.563" v="17339" actId="948"/>
          <ac:spMkLst>
            <pc:docMk/>
            <pc:sldMk cId="1289117044" sldId="2431"/>
            <ac:spMk id="2" creationId="{08698104-62D2-44F7-8498-4D2F01E2AB5C}"/>
          </ac:spMkLst>
        </pc:spChg>
        <pc:spChg chg="mod">
          <ac:chgData name="van Leeuwen  Sara (VPPL)" userId="7a5f1df4-0dd0-4c9e-a72f-a035cf318af6" providerId="ADAL" clId="{AAA37DE2-93D3-44F8-BE87-C19EC6771CD3}" dt="2023-09-21T07:58:43.097" v="3890" actId="947"/>
          <ac:spMkLst>
            <pc:docMk/>
            <pc:sldMk cId="1289117044" sldId="2431"/>
            <ac:spMk id="4" creationId="{2C7151FD-0B7E-40A5-B765-DCA9528BEB0E}"/>
          </ac:spMkLst>
        </pc:spChg>
        <pc:spChg chg="mod">
          <ac:chgData name="van Leeuwen  Sara (VPPL)" userId="7a5f1df4-0dd0-4c9e-a72f-a035cf318af6" providerId="ADAL" clId="{AAA37DE2-93D3-44F8-BE87-C19EC6771CD3}" dt="2023-09-21T08:01:07.215" v="11709" actId="790"/>
          <ac:spMkLst>
            <pc:docMk/>
            <pc:sldMk cId="1289117044" sldId="2431"/>
            <ac:spMk id="5" creationId="{0E142C1F-9344-4A89-B6B0-A96D514A3583}"/>
          </ac:spMkLst>
        </pc:spChg>
        <pc:spChg chg="mod">
          <ac:chgData name="van Leeuwen  Sara (VPPL)" userId="7a5f1df4-0dd0-4c9e-a72f-a035cf318af6" providerId="ADAL" clId="{AAA37DE2-93D3-44F8-BE87-C19EC6771CD3}" dt="2023-09-21T07:58:43.097" v="3894" actId="947"/>
          <ac:spMkLst>
            <pc:docMk/>
            <pc:sldMk cId="1289117044" sldId="2431"/>
            <ac:spMk id="6" creationId="{30493C4D-4FE7-4A4E-B4D3-67C813803591}"/>
          </ac:spMkLst>
        </pc:spChg>
        <pc:spChg chg="mod">
          <ac:chgData name="van Leeuwen  Sara (VPPL)" userId="7a5f1df4-0dd0-4c9e-a72f-a035cf318af6" providerId="ADAL" clId="{AAA37DE2-93D3-44F8-BE87-C19EC6771CD3}" dt="2023-09-21T07:58:43.097" v="3896" actId="947"/>
          <ac:spMkLst>
            <pc:docMk/>
            <pc:sldMk cId="1289117044" sldId="2431"/>
            <ac:spMk id="7" creationId="{4A8138F0-8B88-45AF-BB6F-E3C27F039B53}"/>
          </ac:spMkLst>
        </pc:spChg>
        <pc:spChg chg="add del mod modVis">
          <ac:chgData name="van Leeuwen  Sara (VPPL)" userId="7a5f1df4-0dd0-4c9e-a72f-a035cf318af6" providerId="ADAL" clId="{AAA37DE2-93D3-44F8-BE87-C19EC6771CD3}" dt="2023-09-21T08:01:08.125" v="15270" actId="478"/>
          <ac:spMkLst>
            <pc:docMk/>
            <pc:sldMk cId="1289117044" sldId="2431"/>
            <ac:spMk id="8" creationId="{149102B6-ED25-3047-3354-1742E9AD0CDD}"/>
          </ac:spMkLst>
        </pc:spChg>
        <pc:spChg chg="mod">
          <ac:chgData name="van Leeuwen  Sara (VPPL)" userId="7a5f1df4-0dd0-4c9e-a72f-a035cf318af6" providerId="ADAL" clId="{AAA37DE2-93D3-44F8-BE87-C19EC6771CD3}" dt="2023-09-21T08:01:07.215" v="11718" actId="20577"/>
          <ac:spMkLst>
            <pc:docMk/>
            <pc:sldMk cId="1289117044" sldId="2431"/>
            <ac:spMk id="10" creationId="{89002B66-8B82-4F4C-826B-607F78B71E25}"/>
          </ac:spMkLst>
        </pc:spChg>
        <pc:spChg chg="add del mod modVis">
          <ac:chgData name="van Leeuwen  Sara (VPPL)" userId="7a5f1df4-0dd0-4c9e-a72f-a035cf318af6" providerId="ADAL" clId="{AAA37DE2-93D3-44F8-BE87-C19EC6771CD3}" dt="2023-09-21T08:16:34.466" v="15523"/>
          <ac:spMkLst>
            <pc:docMk/>
            <pc:sldMk cId="1289117044" sldId="2431"/>
            <ac:spMk id="11" creationId="{95F62115-712C-44B2-D8D6-753BAA512509}"/>
          </ac:spMkLst>
        </pc:spChg>
        <pc:spChg chg="del mod">
          <ac:chgData name="van Leeuwen  Sara (VPPL)" userId="7a5f1df4-0dd0-4c9e-a72f-a035cf318af6" providerId="ADAL" clId="{AAA37DE2-93D3-44F8-BE87-C19EC6771CD3}" dt="2023-09-21T08:12:37.048" v="15470" actId="478"/>
          <ac:spMkLst>
            <pc:docMk/>
            <pc:sldMk cId="1289117044" sldId="2431"/>
            <ac:spMk id="12" creationId="{539F782F-4938-FF04-B90B-8FA18B828B29}"/>
          </ac:spMkLst>
        </pc:spChg>
        <pc:spChg chg="add del mod modVis">
          <ac:chgData name="van Leeuwen  Sara (VPPL)" userId="7a5f1df4-0dd0-4c9e-a72f-a035cf318af6" providerId="ADAL" clId="{AAA37DE2-93D3-44F8-BE87-C19EC6771CD3}" dt="2023-09-21T08:16:36.432" v="15569"/>
          <ac:spMkLst>
            <pc:docMk/>
            <pc:sldMk cId="1289117044" sldId="2431"/>
            <ac:spMk id="14" creationId="{F4DEC413-BD40-CC3E-54DC-678099E4D1ED}"/>
          </ac:spMkLst>
        </pc:spChg>
        <pc:spChg chg="add del mod modVis">
          <ac:chgData name="van Leeuwen  Sara (VPPL)" userId="7a5f1df4-0dd0-4c9e-a72f-a035cf318af6" providerId="ADAL" clId="{AAA37DE2-93D3-44F8-BE87-C19EC6771CD3}" dt="2023-09-21T08:16:41.444" v="15619"/>
          <ac:spMkLst>
            <pc:docMk/>
            <pc:sldMk cId="1289117044" sldId="2431"/>
            <ac:spMk id="15" creationId="{97BD7B49-DEC5-4086-A1C7-0F67C6CE5EBC}"/>
          </ac:spMkLst>
        </pc:spChg>
        <pc:spChg chg="mod">
          <ac:chgData name="van Leeuwen  Sara (VPPL)" userId="7a5f1df4-0dd0-4c9e-a72f-a035cf318af6" providerId="ADAL" clId="{AAA37DE2-93D3-44F8-BE87-C19EC6771CD3}" dt="2023-09-21T09:19:30.737" v="17169" actId="14100"/>
          <ac:spMkLst>
            <pc:docMk/>
            <pc:sldMk cId="1289117044" sldId="2431"/>
            <ac:spMk id="16" creationId="{610C0BC9-B539-4F72-A018-A02A8E404895}"/>
          </ac:spMkLst>
        </pc:spChg>
        <pc:spChg chg="add del mod modVis">
          <ac:chgData name="van Leeuwen  Sara (VPPL)" userId="7a5f1df4-0dd0-4c9e-a72f-a035cf318af6" providerId="ADAL" clId="{AAA37DE2-93D3-44F8-BE87-C19EC6771CD3}" dt="2023-09-21T08:16:44.765" v="15676"/>
          <ac:spMkLst>
            <pc:docMk/>
            <pc:sldMk cId="1289117044" sldId="2431"/>
            <ac:spMk id="17" creationId="{8BB2CF3D-6276-B1D1-7C64-00DB97EAC33F}"/>
          </ac:spMkLst>
        </pc:spChg>
        <pc:spChg chg="mod">
          <ac:chgData name="van Leeuwen  Sara (VPPL)" userId="7a5f1df4-0dd0-4c9e-a72f-a035cf318af6" providerId="ADAL" clId="{AAA37DE2-93D3-44F8-BE87-C19EC6771CD3}" dt="2023-09-21T09:19:01.561" v="17167" actId="14100"/>
          <ac:spMkLst>
            <pc:docMk/>
            <pc:sldMk cId="1289117044" sldId="2431"/>
            <ac:spMk id="21" creationId="{76BD90C2-8D4F-46E7-A04F-FF79D28D989A}"/>
          </ac:spMkLst>
        </pc:spChg>
        <pc:spChg chg="add del mod modVis">
          <ac:chgData name="van Leeuwen  Sara (VPPL)" userId="7a5f1df4-0dd0-4c9e-a72f-a035cf318af6" providerId="ADAL" clId="{AAA37DE2-93D3-44F8-BE87-C19EC6771CD3}" dt="2023-09-21T08:16:46.248" v="15727"/>
          <ac:spMkLst>
            <pc:docMk/>
            <pc:sldMk cId="1289117044" sldId="2431"/>
            <ac:spMk id="22" creationId="{00E43585-08D2-E389-5566-0D65F20DB058}"/>
          </ac:spMkLst>
        </pc:spChg>
        <pc:spChg chg="add del mod modVis">
          <ac:chgData name="van Leeuwen  Sara (VPPL)" userId="7a5f1df4-0dd0-4c9e-a72f-a035cf318af6" providerId="ADAL" clId="{AAA37DE2-93D3-44F8-BE87-C19EC6771CD3}" dt="2023-09-21T08:46:35.823" v="16610"/>
          <ac:spMkLst>
            <pc:docMk/>
            <pc:sldMk cId="1289117044" sldId="2431"/>
            <ac:spMk id="25" creationId="{E09967F5-B558-F992-37D0-4BC587C3CA92}"/>
          </ac:spMkLst>
        </pc:spChg>
        <pc:spChg chg="add del mod modVis">
          <ac:chgData name="van Leeuwen  Sara (VPPL)" userId="7a5f1df4-0dd0-4c9e-a72f-a035cf318af6" providerId="ADAL" clId="{AAA37DE2-93D3-44F8-BE87-C19EC6771CD3}" dt="2023-09-21T08:46:37.368" v="16658"/>
          <ac:spMkLst>
            <pc:docMk/>
            <pc:sldMk cId="1289117044" sldId="2431"/>
            <ac:spMk id="26" creationId="{5E471952-98B6-EC47-30CD-1422BEB5A1FB}"/>
          </ac:spMkLst>
        </pc:spChg>
        <pc:spChg chg="add del mod modVis">
          <ac:chgData name="van Leeuwen  Sara (VPPL)" userId="7a5f1df4-0dd0-4c9e-a72f-a035cf318af6" providerId="ADAL" clId="{AAA37DE2-93D3-44F8-BE87-C19EC6771CD3}" dt="2023-09-21T08:46:38.645" v="16713"/>
          <ac:spMkLst>
            <pc:docMk/>
            <pc:sldMk cId="1289117044" sldId="2431"/>
            <ac:spMk id="27" creationId="{B81D3242-BF3D-1B61-3F5E-1D0F961DC7D7}"/>
          </ac:spMkLst>
        </pc:spChg>
        <pc:spChg chg="add del mod modVis">
          <ac:chgData name="van Leeuwen  Sara (VPPL)" userId="7a5f1df4-0dd0-4c9e-a72f-a035cf318af6" providerId="ADAL" clId="{AAA37DE2-93D3-44F8-BE87-C19EC6771CD3}" dt="2023-09-21T08:46:40.381" v="16758"/>
          <ac:spMkLst>
            <pc:docMk/>
            <pc:sldMk cId="1289117044" sldId="2431"/>
            <ac:spMk id="28" creationId="{573E60E3-42E5-54B0-F173-838523461B19}"/>
          </ac:spMkLst>
        </pc:spChg>
        <pc:spChg chg="add del mod modVis">
          <ac:chgData name="van Leeuwen  Sara (VPPL)" userId="7a5f1df4-0dd0-4c9e-a72f-a035cf318af6" providerId="ADAL" clId="{AAA37DE2-93D3-44F8-BE87-C19EC6771CD3}" dt="2023-09-21T08:46:40.949" v="16803"/>
          <ac:spMkLst>
            <pc:docMk/>
            <pc:sldMk cId="1289117044" sldId="2431"/>
            <ac:spMk id="29" creationId="{56E9E70B-5641-4B28-AC36-11EAEADBF1EE}"/>
          </ac:spMkLst>
        </pc:spChg>
        <pc:spChg chg="add del mod modVis">
          <ac:chgData name="van Leeuwen  Sara (VPPL)" userId="7a5f1df4-0dd0-4c9e-a72f-a035cf318af6" providerId="ADAL" clId="{AAA37DE2-93D3-44F8-BE87-C19EC6771CD3}" dt="2023-09-21T08:46:42.132" v="16853"/>
          <ac:spMkLst>
            <pc:docMk/>
            <pc:sldMk cId="1289117044" sldId="2431"/>
            <ac:spMk id="30" creationId="{DEB0D261-71F4-0A16-1358-10786DE17C53}"/>
          </ac:spMkLst>
        </pc:spChg>
        <pc:spChg chg="add del mod modVis">
          <ac:chgData name="van Leeuwen  Sara (VPPL)" userId="7a5f1df4-0dd0-4c9e-a72f-a035cf318af6" providerId="ADAL" clId="{AAA37DE2-93D3-44F8-BE87-C19EC6771CD3}" dt="2023-09-21T08:46:44.194" v="16901"/>
          <ac:spMkLst>
            <pc:docMk/>
            <pc:sldMk cId="1289117044" sldId="2431"/>
            <ac:spMk id="31" creationId="{DBCDF2AE-7CCD-F984-4E02-A68A0261B4C5}"/>
          </ac:spMkLst>
        </pc:spChg>
        <pc:spChg chg="add del mod modVis">
          <ac:chgData name="van Leeuwen  Sara (VPPL)" userId="7a5f1df4-0dd0-4c9e-a72f-a035cf318af6" providerId="ADAL" clId="{AAA37DE2-93D3-44F8-BE87-C19EC6771CD3}" dt="2023-09-21T08:46:50.825" v="16955"/>
          <ac:spMkLst>
            <pc:docMk/>
            <pc:sldMk cId="1289117044" sldId="2431"/>
            <ac:spMk id="32" creationId="{7C50C7CC-5791-F06B-F4A7-E64F09A75340}"/>
          </ac:spMkLst>
        </pc:spChg>
        <pc:spChg chg="add del mod modVis">
          <ac:chgData name="van Leeuwen  Sara (VPPL)" userId="7a5f1df4-0dd0-4c9e-a72f-a035cf318af6" providerId="ADAL" clId="{AAA37DE2-93D3-44F8-BE87-C19EC6771CD3}" dt="2023-09-21T09:26:53.831" v="17289"/>
          <ac:spMkLst>
            <pc:docMk/>
            <pc:sldMk cId="1289117044" sldId="2431"/>
            <ac:spMk id="33" creationId="{261A3600-94DE-00C3-5A93-0FBA79DC0F28}"/>
          </ac:spMkLst>
        </pc:spChg>
        <pc:spChg chg="add del mod modVis">
          <ac:chgData name="van Leeuwen  Sara (VPPL)" userId="7a5f1df4-0dd0-4c9e-a72f-a035cf318af6" providerId="ADAL" clId="{AAA37DE2-93D3-44F8-BE87-C19EC6771CD3}" dt="2023-09-21T09:26:54.484" v="17334"/>
          <ac:spMkLst>
            <pc:docMk/>
            <pc:sldMk cId="1289117044" sldId="2431"/>
            <ac:spMk id="34" creationId="{B2B7F67F-760A-0A65-C5DA-93909866B1E2}"/>
          </ac:spMkLst>
        </pc:spChg>
        <pc:spChg chg="add del mod modVis">
          <ac:chgData name="van Leeuwen  Sara (VPPL)" userId="7a5f1df4-0dd0-4c9e-a72f-a035cf318af6" providerId="ADAL" clId="{AAA37DE2-93D3-44F8-BE87-C19EC6771CD3}" dt="2023-09-21T09:26:55.594" v="17380"/>
          <ac:spMkLst>
            <pc:docMk/>
            <pc:sldMk cId="1289117044" sldId="2431"/>
            <ac:spMk id="35" creationId="{37DCD2B1-DE8A-2595-4359-3D0E9AC844DB}"/>
          </ac:spMkLst>
        </pc:spChg>
        <pc:graphicFrameChg chg="mod">
          <ac:chgData name="van Leeuwen  Sara (VPPL)" userId="7a5f1df4-0dd0-4c9e-a72f-a035cf318af6" providerId="ADAL" clId="{AAA37DE2-93D3-44F8-BE87-C19EC6771CD3}" dt="2023-09-21T09:26:55.594" v="17382"/>
          <ac:graphicFrameMkLst>
            <pc:docMk/>
            <pc:sldMk cId="1289117044" sldId="2431"/>
            <ac:graphicFrameMk id="9" creationId="{ADB5C681-0F20-2515-3C36-02BE7407BA56}"/>
          </ac:graphicFrameMkLst>
        </pc:graphicFrameChg>
        <pc:picChg chg="mod">
          <ac:chgData name="van Leeuwen  Sara (VPPL)" userId="7a5f1df4-0dd0-4c9e-a72f-a035cf318af6" providerId="ADAL" clId="{AAA37DE2-93D3-44F8-BE87-C19EC6771CD3}" dt="2023-09-21T08:45:31.827" v="16545" actId="1076"/>
          <ac:picMkLst>
            <pc:docMk/>
            <pc:sldMk cId="1289117044" sldId="2431"/>
            <ac:picMk id="3" creationId="{4791305B-96B8-4804-92DD-3318E58CFD9D}"/>
          </ac:picMkLst>
        </pc:picChg>
        <pc:picChg chg="mod">
          <ac:chgData name="van Leeuwen  Sara (VPPL)" userId="7a5f1df4-0dd0-4c9e-a72f-a035cf318af6" providerId="ADAL" clId="{AAA37DE2-93D3-44F8-BE87-C19EC6771CD3}" dt="2023-09-21T08:45:12.639" v="16542" actId="1076"/>
          <ac:picMkLst>
            <pc:docMk/>
            <pc:sldMk cId="1289117044" sldId="2431"/>
            <ac:picMk id="13" creationId="{72090AE7-9624-4F36-AE5A-56FF4FE73935}"/>
          </ac:picMkLst>
        </pc:picChg>
        <pc:picChg chg="mod">
          <ac:chgData name="van Leeuwen  Sara (VPPL)" userId="7a5f1df4-0dd0-4c9e-a72f-a035cf318af6" providerId="ADAL" clId="{AAA37DE2-93D3-44F8-BE87-C19EC6771CD3}" dt="2023-09-21T08:45:39.792" v="16548" actId="1076"/>
          <ac:picMkLst>
            <pc:docMk/>
            <pc:sldMk cId="1289117044" sldId="2431"/>
            <ac:picMk id="18" creationId="{AE3A6DEC-99DC-408A-BCDE-E9FAD48A6E2D}"/>
          </ac:picMkLst>
        </pc:picChg>
        <pc:picChg chg="mod modCrop">
          <ac:chgData name="van Leeuwen  Sara (VPPL)" userId="7a5f1df4-0dd0-4c9e-a72f-a035cf318af6" providerId="ADAL" clId="{AAA37DE2-93D3-44F8-BE87-C19EC6771CD3}" dt="2023-09-21T09:19:43.620" v="17170" actId="1076"/>
          <ac:picMkLst>
            <pc:docMk/>
            <pc:sldMk cId="1289117044" sldId="2431"/>
            <ac:picMk id="19" creationId="{C827A84E-853D-4F4F-B2C0-D55B00AFDD82}"/>
          </ac:picMkLst>
        </pc:picChg>
        <pc:picChg chg="mod">
          <ac:chgData name="van Leeuwen  Sara (VPPL)" userId="7a5f1df4-0dd0-4c9e-a72f-a035cf318af6" providerId="ADAL" clId="{AAA37DE2-93D3-44F8-BE87-C19EC6771CD3}" dt="2023-09-21T08:45:09.467" v="16541" actId="1076"/>
          <ac:picMkLst>
            <pc:docMk/>
            <pc:sldMk cId="1289117044" sldId="2431"/>
            <ac:picMk id="20" creationId="{F6A64803-6769-44BF-8556-118AAC9376D4}"/>
          </ac:picMkLst>
        </pc:picChg>
        <pc:picChg chg="add mod">
          <ac:chgData name="van Leeuwen  Sara (VPPL)" userId="7a5f1df4-0dd0-4c9e-a72f-a035cf318af6" providerId="ADAL" clId="{AAA37DE2-93D3-44F8-BE87-C19EC6771CD3}" dt="2023-09-21T08:46:08.415" v="16553" actId="1076"/>
          <ac:picMkLst>
            <pc:docMk/>
            <pc:sldMk cId="1289117044" sldId="2431"/>
            <ac:picMk id="24" creationId="{7BCC7FA2-C324-C217-569B-CB43F3B8989C}"/>
          </ac:picMkLst>
        </pc:picChg>
      </pc:sldChg>
      <pc:sldChg chg="addSp delSp modSp mod modNotes">
        <pc:chgData name="van Leeuwen  Sara (VPPL)" userId="7a5f1df4-0dd0-4c9e-a72f-a035cf318af6" providerId="ADAL" clId="{AAA37DE2-93D3-44F8-BE87-C19EC6771CD3}" dt="2023-09-21T09:09:28.373" v="17068" actId="20577"/>
        <pc:sldMkLst>
          <pc:docMk/>
          <pc:sldMk cId="4240256703" sldId="2434"/>
        </pc:sldMkLst>
        <pc:spChg chg="mod">
          <ac:chgData name="van Leeuwen  Sara (VPPL)" userId="7a5f1df4-0dd0-4c9e-a72f-a035cf318af6" providerId="ADAL" clId="{AAA37DE2-93D3-44F8-BE87-C19EC6771CD3}" dt="2023-09-21T09:05:41.940" v="17021" actId="948"/>
          <ac:spMkLst>
            <pc:docMk/>
            <pc:sldMk cId="4240256703" sldId="2434"/>
            <ac:spMk id="2" creationId="{79A1C4D2-CFB3-461C-AF47-77E2FE13A7D1}"/>
          </ac:spMkLst>
        </pc:spChg>
        <pc:spChg chg="mod">
          <ac:chgData name="van Leeuwen  Sara (VPPL)" userId="7a5f1df4-0dd0-4c9e-a72f-a035cf318af6" providerId="ADAL" clId="{AAA37DE2-93D3-44F8-BE87-C19EC6771CD3}" dt="2023-09-21T07:58:43.129" v="3922" actId="947"/>
          <ac:spMkLst>
            <pc:docMk/>
            <pc:sldMk cId="4240256703" sldId="2434"/>
            <ac:spMk id="3" creationId="{0388AFFD-3076-49B5-B0DE-559A52DA68A3}"/>
          </ac:spMkLst>
        </pc:spChg>
        <pc:spChg chg="mod">
          <ac:chgData name="van Leeuwen  Sara (VPPL)" userId="7a5f1df4-0dd0-4c9e-a72f-a035cf318af6" providerId="ADAL" clId="{AAA37DE2-93D3-44F8-BE87-C19EC6771CD3}" dt="2023-09-21T07:58:43.129" v="3924" actId="947"/>
          <ac:spMkLst>
            <pc:docMk/>
            <pc:sldMk cId="4240256703" sldId="2434"/>
            <ac:spMk id="4" creationId="{9CA1C58A-C168-4EDF-B8E5-CC4D577EF906}"/>
          </ac:spMkLst>
        </pc:spChg>
        <pc:spChg chg="mod">
          <ac:chgData name="van Leeuwen  Sara (VPPL)" userId="7a5f1df4-0dd0-4c9e-a72f-a035cf318af6" providerId="ADAL" clId="{AAA37DE2-93D3-44F8-BE87-C19EC6771CD3}" dt="2023-09-21T08:01:07.229" v="11743" actId="790"/>
          <ac:spMkLst>
            <pc:docMk/>
            <pc:sldMk cId="4240256703" sldId="2434"/>
            <ac:spMk id="5" creationId="{85D9BC9D-3DA7-45F6-B926-A87C277DD9F8}"/>
          </ac:spMkLst>
        </pc:spChg>
        <pc:spChg chg="mod">
          <ac:chgData name="van Leeuwen  Sara (VPPL)" userId="7a5f1df4-0dd0-4c9e-a72f-a035cf318af6" providerId="ADAL" clId="{AAA37DE2-93D3-44F8-BE87-C19EC6771CD3}" dt="2023-09-21T07:58:43.129" v="3928" actId="947"/>
          <ac:spMkLst>
            <pc:docMk/>
            <pc:sldMk cId="4240256703" sldId="2434"/>
            <ac:spMk id="6" creationId="{10B85623-378B-4EB9-AA11-55C1EBD36CD0}"/>
          </ac:spMkLst>
        </pc:spChg>
        <pc:spChg chg="add del mod modVis">
          <ac:chgData name="van Leeuwen  Sara (VPPL)" userId="7a5f1df4-0dd0-4c9e-a72f-a035cf318af6" providerId="ADAL" clId="{AAA37DE2-93D3-44F8-BE87-C19EC6771CD3}" dt="2023-09-21T08:01:08.141" v="15312" actId="478"/>
          <ac:spMkLst>
            <pc:docMk/>
            <pc:sldMk cId="4240256703" sldId="2434"/>
            <ac:spMk id="7" creationId="{2884CFA6-81E7-79AB-A4D7-A1B7CF04A99D}"/>
          </ac:spMkLst>
        </pc:spChg>
        <pc:spChg chg="mod">
          <ac:chgData name="van Leeuwen  Sara (VPPL)" userId="7a5f1df4-0dd0-4c9e-a72f-a035cf318af6" providerId="ADAL" clId="{AAA37DE2-93D3-44F8-BE87-C19EC6771CD3}" dt="2023-09-21T07:58:43.139" v="3930" actId="947"/>
          <ac:spMkLst>
            <pc:docMk/>
            <pc:sldMk cId="4240256703" sldId="2434"/>
            <ac:spMk id="8" creationId="{3F810E95-1E33-40B3-B601-24721E2C7DA5}"/>
          </ac:spMkLst>
        </pc:spChg>
        <pc:spChg chg="del mod">
          <ac:chgData name="van Leeuwen  Sara (VPPL)" userId="7a5f1df4-0dd0-4c9e-a72f-a035cf318af6" providerId="ADAL" clId="{AAA37DE2-93D3-44F8-BE87-C19EC6771CD3}" dt="2023-09-21T08:48:25.847" v="17019" actId="478"/>
          <ac:spMkLst>
            <pc:docMk/>
            <pc:sldMk cId="4240256703" sldId="2434"/>
            <ac:spMk id="11" creationId="{DC6803D6-68BC-AB6B-C96F-B47E5E1B0245}"/>
          </ac:spMkLst>
        </pc:spChg>
        <pc:spChg chg="add del mod modVis">
          <ac:chgData name="van Leeuwen  Sara (VPPL)" userId="7a5f1df4-0dd0-4c9e-a72f-a035cf318af6" providerId="ADAL" clId="{AAA37DE2-93D3-44F8-BE87-C19EC6771CD3}" dt="2023-09-21T09:05:41.971" v="17062"/>
          <ac:spMkLst>
            <pc:docMk/>
            <pc:sldMk cId="4240256703" sldId="2434"/>
            <ac:spMk id="12" creationId="{E99DE9DA-915D-68D2-D30B-50514792E55D}"/>
          </ac:spMkLst>
        </pc:spChg>
        <pc:graphicFrameChg chg="mod">
          <ac:chgData name="van Leeuwen  Sara (VPPL)" userId="7a5f1df4-0dd0-4c9e-a72f-a035cf318af6" providerId="ADAL" clId="{AAA37DE2-93D3-44F8-BE87-C19EC6771CD3}" dt="2023-09-21T09:05:41.971" v="17064"/>
          <ac:graphicFrameMkLst>
            <pc:docMk/>
            <pc:sldMk cId="4240256703" sldId="2434"/>
            <ac:graphicFrameMk id="9" creationId="{84319D52-99EE-EE4B-35C3-4C037FDB14E5}"/>
          </ac:graphicFrameMkLst>
        </pc:graphicFrameChg>
        <pc:graphicFrameChg chg="modGraphic">
          <ac:chgData name="van Leeuwen  Sara (VPPL)" userId="7a5f1df4-0dd0-4c9e-a72f-a035cf318af6" providerId="ADAL" clId="{AAA37DE2-93D3-44F8-BE87-C19EC6771CD3}" dt="2023-09-21T09:09:28.373" v="17068" actId="20577"/>
          <ac:graphicFrameMkLst>
            <pc:docMk/>
            <pc:sldMk cId="4240256703" sldId="2434"/>
            <ac:graphicFrameMk id="10" creationId="{0EF152D8-7E22-405A-9145-E64DA0C4FFB0}"/>
          </ac:graphicFrameMkLst>
        </pc:graphicFrameChg>
      </pc:sldChg>
      <pc:sldChg chg="addSp delSp modSp mod modNotes">
        <pc:chgData name="van Leeuwen  Sara (VPPL)" userId="7a5f1df4-0dd0-4c9e-a72f-a035cf318af6" providerId="ADAL" clId="{AAA37DE2-93D3-44F8-BE87-C19EC6771CD3}" dt="2023-09-21T08:01:08.392" v="15456"/>
        <pc:sldMkLst>
          <pc:docMk/>
          <pc:sldMk cId="366332666" sldId="2435"/>
        </pc:sldMkLst>
        <pc:spChg chg="mod">
          <ac:chgData name="van Leeuwen  Sara (VPPL)" userId="7a5f1df4-0dd0-4c9e-a72f-a035cf318af6" providerId="ADAL" clId="{AAA37DE2-93D3-44F8-BE87-C19EC6771CD3}" dt="2023-09-21T08:01:08.078" v="15064" actId="948"/>
          <ac:spMkLst>
            <pc:docMk/>
            <pc:sldMk cId="366332666" sldId="2435"/>
            <ac:spMk id="2" creationId="{00000000-0000-0000-0000-000000000000}"/>
          </ac:spMkLst>
        </pc:spChg>
        <pc:spChg chg="add del mod modVis">
          <ac:chgData name="van Leeuwen  Sara (VPPL)" userId="7a5f1df4-0dd0-4c9e-a72f-a035cf318af6" providerId="ADAL" clId="{AAA37DE2-93D3-44F8-BE87-C19EC6771CD3}" dt="2023-09-21T08:01:08.141" v="15325" actId="478"/>
          <ac:spMkLst>
            <pc:docMk/>
            <pc:sldMk cId="366332666" sldId="2435"/>
            <ac:spMk id="3" creationId="{58C3CF26-C4EB-77A8-67CE-BC1AC82143F4}"/>
          </ac:spMkLst>
        </pc:spChg>
        <pc:spChg chg="mod">
          <ac:chgData name="van Leeuwen  Sara (VPPL)" userId="7a5f1df4-0dd0-4c9e-a72f-a035cf318af6" providerId="ADAL" clId="{AAA37DE2-93D3-44F8-BE87-C19EC6771CD3}" dt="2023-09-21T07:58:43.713" v="4536" actId="947"/>
          <ac:spMkLst>
            <pc:docMk/>
            <pc:sldMk cId="366332666" sldId="2435"/>
            <ac:spMk id="4" creationId="{00000000-0000-0000-0000-000000000000}"/>
          </ac:spMkLst>
        </pc:spChg>
        <pc:spChg chg="mod">
          <ac:chgData name="van Leeuwen  Sara (VPPL)" userId="7a5f1df4-0dd0-4c9e-a72f-a035cf318af6" providerId="ADAL" clId="{AAA37DE2-93D3-44F8-BE87-C19EC6771CD3}" dt="2023-09-21T07:58:43.729" v="4540" actId="947"/>
          <ac:spMkLst>
            <pc:docMk/>
            <pc:sldMk cId="366332666" sldId="2435"/>
            <ac:spMk id="6" creationId="{00000000-0000-0000-0000-000000000000}"/>
          </ac:spMkLst>
        </pc:spChg>
        <pc:spChg chg="mod">
          <ac:chgData name="van Leeuwen  Sara (VPPL)" userId="7a5f1df4-0dd0-4c9e-a72f-a035cf318af6" providerId="ADAL" clId="{AAA37DE2-93D3-44F8-BE87-C19EC6771CD3}" dt="2023-09-21T08:01:07.338" v="12355" actId="790"/>
          <ac:spMkLst>
            <pc:docMk/>
            <pc:sldMk cId="366332666" sldId="2435"/>
            <ac:spMk id="8" creationId="{D75AFB06-C0D5-C44A-AFA0-9276A7192873}"/>
          </ac:spMkLst>
        </pc:spChg>
        <pc:spChg chg="mod">
          <ac:chgData name="van Leeuwen  Sara (VPPL)" userId="7a5f1df4-0dd0-4c9e-a72f-a035cf318af6" providerId="ADAL" clId="{AAA37DE2-93D3-44F8-BE87-C19EC6771CD3}" dt="2023-09-21T08:01:07.338" v="12352" actId="20577"/>
          <ac:spMkLst>
            <pc:docMk/>
            <pc:sldMk cId="366332666" sldId="2435"/>
            <ac:spMk id="9" creationId="{B6B24EFB-329E-4BDB-8682-2837E8093CA9}"/>
          </ac:spMkLst>
        </pc:spChg>
        <pc:spChg chg="mod">
          <ac:chgData name="van Leeuwen  Sara (VPPL)" userId="7a5f1df4-0dd0-4c9e-a72f-a035cf318af6" providerId="ADAL" clId="{AAA37DE2-93D3-44F8-BE87-C19EC6771CD3}" dt="2023-09-21T07:58:43.745" v="4574" actId="947"/>
          <ac:spMkLst>
            <pc:docMk/>
            <pc:sldMk cId="366332666" sldId="2435"/>
            <ac:spMk id="11" creationId="{5EE19B10-BD32-4855-BF14-2D427D1BFDF4}"/>
          </ac:spMkLst>
        </pc:spChg>
        <pc:graphicFrameChg chg="mod">
          <ac:chgData name="van Leeuwen  Sara (VPPL)" userId="7a5f1df4-0dd0-4c9e-a72f-a035cf318af6" providerId="ADAL" clId="{AAA37DE2-93D3-44F8-BE87-C19EC6771CD3}" dt="2023-09-21T08:01:08.392" v="15456"/>
          <ac:graphicFrameMkLst>
            <pc:docMk/>
            <pc:sldMk cId="366332666" sldId="2435"/>
            <ac:graphicFrameMk id="5" creationId="{4EFD790E-C509-15F3-A548-0254A67D74B6}"/>
          </ac:graphicFrameMkLst>
        </pc:graphicFrameChg>
        <pc:graphicFrameChg chg="modGraphic">
          <ac:chgData name="van Leeuwen  Sara (VPPL)" userId="7a5f1df4-0dd0-4c9e-a72f-a035cf318af6" providerId="ADAL" clId="{AAA37DE2-93D3-44F8-BE87-C19EC6771CD3}" dt="2023-09-21T07:58:43.745" v="4572" actId="947"/>
          <ac:graphicFrameMkLst>
            <pc:docMk/>
            <pc:sldMk cId="366332666" sldId="2435"/>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282" v="15404"/>
        <pc:sldMkLst>
          <pc:docMk/>
          <pc:sldMk cId="115161503" sldId="2437"/>
        </pc:sldMkLst>
        <pc:spChg chg="mod">
          <ac:chgData name="van Leeuwen  Sara (VPPL)" userId="7a5f1df4-0dd0-4c9e-a72f-a035cf318af6" providerId="ADAL" clId="{AAA37DE2-93D3-44F8-BE87-C19EC6771CD3}" dt="2023-09-21T08:01:07.574" v="13147" actId="948"/>
          <ac:spMkLst>
            <pc:docMk/>
            <pc:sldMk cId="115161503" sldId="2437"/>
            <ac:spMk id="2" creationId="{00000000-0000-0000-0000-000000000000}"/>
          </ac:spMkLst>
        </pc:spChg>
        <pc:spChg chg="add del mod modVis">
          <ac:chgData name="van Leeuwen  Sara (VPPL)" userId="7a5f1df4-0dd0-4c9e-a72f-a035cf318af6" providerId="ADAL" clId="{AAA37DE2-93D3-44F8-BE87-C19EC6771CD3}" dt="2023-09-20T12:15:18.231" v="1426"/>
          <ac:spMkLst>
            <pc:docMk/>
            <pc:sldMk cId="115161503" sldId="2437"/>
            <ac:spMk id="3" creationId="{649A3995-A21B-56EF-811C-09478E46B5F1}"/>
          </ac:spMkLst>
        </pc:spChg>
        <pc:spChg chg="add del mod modVis">
          <ac:chgData name="van Leeuwen  Sara (VPPL)" userId="7a5f1df4-0dd0-4c9e-a72f-a035cf318af6" providerId="ADAL" clId="{AAA37DE2-93D3-44F8-BE87-C19EC6771CD3}" dt="2023-09-21T08:01:08.115" v="15215" actId="478"/>
          <ac:spMkLst>
            <pc:docMk/>
            <pc:sldMk cId="115161503" sldId="2437"/>
            <ac:spMk id="3" creationId="{EFCDD523-F11D-D583-B9AA-25126CE0AB5A}"/>
          </ac:spMkLst>
        </pc:spChg>
        <pc:spChg chg="mod">
          <ac:chgData name="van Leeuwen  Sara (VPPL)" userId="7a5f1df4-0dd0-4c9e-a72f-a035cf318af6" providerId="ADAL" clId="{AAA37DE2-93D3-44F8-BE87-C19EC6771CD3}" dt="2023-09-21T07:58:43.840" v="4682" actId="947"/>
          <ac:spMkLst>
            <pc:docMk/>
            <pc:sldMk cId="115161503" sldId="2437"/>
            <ac:spMk id="4" creationId="{00000000-0000-0000-0000-000000000000}"/>
          </ac:spMkLst>
        </pc:spChg>
        <pc:spChg chg="mod">
          <ac:chgData name="van Leeuwen  Sara (VPPL)" userId="7a5f1df4-0dd0-4c9e-a72f-a035cf318af6" providerId="ADAL" clId="{AAA37DE2-93D3-44F8-BE87-C19EC6771CD3}" dt="2023-09-21T07:58:43.840" v="4686" actId="947"/>
          <ac:spMkLst>
            <pc:docMk/>
            <pc:sldMk cId="115161503" sldId="2437"/>
            <ac:spMk id="6" creationId="{00000000-0000-0000-0000-000000000000}"/>
          </ac:spMkLst>
        </pc:spChg>
        <pc:spChg chg="mod">
          <ac:chgData name="van Leeuwen  Sara (VPPL)" userId="7a5f1df4-0dd0-4c9e-a72f-a035cf318af6" providerId="ADAL" clId="{AAA37DE2-93D3-44F8-BE87-C19EC6771CD3}" dt="2023-09-21T07:58:43.855" v="4690" actId="947"/>
          <ac:spMkLst>
            <pc:docMk/>
            <pc:sldMk cId="115161503" sldId="2437"/>
            <ac:spMk id="9" creationId="{DAD87841-70CF-4F6D-B9E5-42EAA3A807C7}"/>
          </ac:spMkLst>
        </pc:spChg>
        <pc:spChg chg="mod">
          <ac:chgData name="van Leeuwen  Sara (VPPL)" userId="7a5f1df4-0dd0-4c9e-a72f-a035cf318af6" providerId="ADAL" clId="{AAA37DE2-93D3-44F8-BE87-C19EC6771CD3}" dt="2023-09-21T08:01:07.370" v="12505" actId="790"/>
          <ac:spMkLst>
            <pc:docMk/>
            <pc:sldMk cId="115161503" sldId="2437"/>
            <ac:spMk id="10" creationId="{00000000-0000-0000-0000-000000000000}"/>
          </ac:spMkLst>
        </pc:spChg>
        <pc:spChg chg="mod">
          <ac:chgData name="van Leeuwen  Sara (VPPL)" userId="7a5f1df4-0dd0-4c9e-a72f-a035cf318af6" providerId="ADAL" clId="{AAA37DE2-93D3-44F8-BE87-C19EC6771CD3}" dt="2023-09-21T08:01:07.370" v="12501" actId="790"/>
          <ac:spMkLst>
            <pc:docMk/>
            <pc:sldMk cId="115161503" sldId="2437"/>
            <ac:spMk id="12" creationId="{D75AFB06-C0D5-C44A-AFA0-9276A7192873}"/>
          </ac:spMkLst>
        </pc:spChg>
        <pc:spChg chg="mod">
          <ac:chgData name="van Leeuwen  Sara (VPPL)" userId="7a5f1df4-0dd0-4c9e-a72f-a035cf318af6" providerId="ADAL" clId="{AAA37DE2-93D3-44F8-BE87-C19EC6771CD3}" dt="2023-09-21T08:01:07.370" v="12509" actId="790"/>
          <ac:spMkLst>
            <pc:docMk/>
            <pc:sldMk cId="115161503" sldId="2437"/>
            <ac:spMk id="13" creationId="{395FE564-E77A-A062-6DE1-DDA7459467A2}"/>
          </ac:spMkLst>
        </pc:spChg>
        <pc:spChg chg="mod">
          <ac:chgData name="van Leeuwen  Sara (VPPL)" userId="7a5f1df4-0dd0-4c9e-a72f-a035cf318af6" providerId="ADAL" clId="{AAA37DE2-93D3-44F8-BE87-C19EC6771CD3}" dt="2023-09-21T08:01:07.370" v="12511" actId="790"/>
          <ac:spMkLst>
            <pc:docMk/>
            <pc:sldMk cId="115161503" sldId="2437"/>
            <ac:spMk id="14" creationId="{7528A58F-D640-34E7-6DA4-5A6CA1D82E0E}"/>
          </ac:spMkLst>
        </pc:spChg>
        <pc:graphicFrameChg chg="mod">
          <ac:chgData name="van Leeuwen  Sara (VPPL)" userId="7a5f1df4-0dd0-4c9e-a72f-a035cf318af6" providerId="ADAL" clId="{AAA37DE2-93D3-44F8-BE87-C19EC6771CD3}" dt="2023-09-21T08:01:08.282" v="15404"/>
          <ac:graphicFrameMkLst>
            <pc:docMk/>
            <pc:sldMk cId="115161503" sldId="2437"/>
            <ac:graphicFrameMk id="5" creationId="{6CD3BF2A-4B05-1D82-BE24-6EDADE277B81}"/>
          </ac:graphicFrameMkLst>
        </pc:graphicFrameChg>
        <pc:picChg chg="mod">
          <ac:chgData name="van Leeuwen  Sara (VPPL)" userId="7a5f1df4-0dd0-4c9e-a72f-a035cf318af6" providerId="ADAL" clId="{AAA37DE2-93D3-44F8-BE87-C19EC6771CD3}" dt="2023-09-20T12:17:33.259" v="1508" actId="1036"/>
          <ac:picMkLst>
            <pc:docMk/>
            <pc:sldMk cId="115161503" sldId="2437"/>
            <ac:picMk id="11" creationId="{ED7C954A-CDCB-8D6B-BD20-C0E69F383502}"/>
          </ac:picMkLst>
        </pc:picChg>
        <pc:picChg chg="mod">
          <ac:chgData name="van Leeuwen  Sara (VPPL)" userId="7a5f1df4-0dd0-4c9e-a72f-a035cf318af6" providerId="ADAL" clId="{AAA37DE2-93D3-44F8-BE87-C19EC6771CD3}" dt="2023-09-20T12:17:26.122" v="1507" actId="1076"/>
          <ac:picMkLst>
            <pc:docMk/>
            <pc:sldMk cId="115161503" sldId="2437"/>
            <ac:picMk id="26" creationId="{31E44439-1382-DDF9-F549-7C738C45232B}"/>
          </ac:picMkLst>
        </pc:picChg>
      </pc:sldChg>
      <pc:sldChg chg="addSp delSp modSp mod modNotes">
        <pc:chgData name="van Leeuwen  Sara (VPPL)" userId="7a5f1df4-0dd0-4c9e-a72f-a035cf318af6" providerId="ADAL" clId="{AAA37DE2-93D3-44F8-BE87-C19EC6771CD3}" dt="2023-09-21T08:01:08.297" v="15406"/>
        <pc:sldMkLst>
          <pc:docMk/>
          <pc:sldMk cId="2093043053" sldId="2438"/>
        </pc:sldMkLst>
        <pc:spChg chg="mod">
          <ac:chgData name="van Leeuwen  Sara (VPPL)" userId="7a5f1df4-0dd0-4c9e-a72f-a035cf318af6" providerId="ADAL" clId="{AAA37DE2-93D3-44F8-BE87-C19EC6771CD3}" dt="2023-09-21T08:01:07.590" v="13183" actId="948"/>
          <ac:spMkLst>
            <pc:docMk/>
            <pc:sldMk cId="2093043053" sldId="2438"/>
            <ac:spMk id="2" creationId="{00000000-0000-0000-0000-000000000000}"/>
          </ac:spMkLst>
        </pc:spChg>
        <pc:spChg chg="add del mod modVis">
          <ac:chgData name="van Leeuwen  Sara (VPPL)" userId="7a5f1df4-0dd0-4c9e-a72f-a035cf318af6" providerId="ADAL" clId="{AAA37DE2-93D3-44F8-BE87-C19EC6771CD3}" dt="2023-09-21T08:01:08.115" v="15217" actId="478"/>
          <ac:spMkLst>
            <pc:docMk/>
            <pc:sldMk cId="2093043053" sldId="2438"/>
            <ac:spMk id="3" creationId="{4FB6829D-10D5-BDC1-D8ED-5949D2CD59FE}"/>
          </ac:spMkLst>
        </pc:spChg>
        <pc:spChg chg="mod">
          <ac:chgData name="van Leeuwen  Sara (VPPL)" userId="7a5f1df4-0dd0-4c9e-a72f-a035cf318af6" providerId="ADAL" clId="{AAA37DE2-93D3-44F8-BE87-C19EC6771CD3}" dt="2023-09-21T07:58:43.824" v="4640" actId="947"/>
          <ac:spMkLst>
            <pc:docMk/>
            <pc:sldMk cId="2093043053" sldId="2438"/>
            <ac:spMk id="4" creationId="{00000000-0000-0000-0000-000000000000}"/>
          </ac:spMkLst>
        </pc:spChg>
        <pc:spChg chg="mod">
          <ac:chgData name="van Leeuwen  Sara (VPPL)" userId="7a5f1df4-0dd0-4c9e-a72f-a035cf318af6" providerId="ADAL" clId="{AAA37DE2-93D3-44F8-BE87-C19EC6771CD3}" dt="2023-09-21T07:58:43.824" v="4644" actId="947"/>
          <ac:spMkLst>
            <pc:docMk/>
            <pc:sldMk cId="2093043053" sldId="2438"/>
            <ac:spMk id="6" creationId="{00000000-0000-0000-0000-000000000000}"/>
          </ac:spMkLst>
        </pc:spChg>
        <pc:spChg chg="mod">
          <ac:chgData name="van Leeuwen  Sara (VPPL)" userId="7a5f1df4-0dd0-4c9e-a72f-a035cf318af6" providerId="ADAL" clId="{AAA37DE2-93D3-44F8-BE87-C19EC6771CD3}" dt="2023-09-21T08:01:07.354" v="12459" actId="790"/>
          <ac:spMkLst>
            <pc:docMk/>
            <pc:sldMk cId="2093043053" sldId="2438"/>
            <ac:spMk id="8" creationId="{D75AFB06-C0D5-C44A-AFA0-9276A7192873}"/>
          </ac:spMkLst>
        </pc:spChg>
        <pc:spChg chg="mod">
          <ac:chgData name="van Leeuwen  Sara (VPPL)" userId="7a5f1df4-0dd0-4c9e-a72f-a035cf318af6" providerId="ADAL" clId="{AAA37DE2-93D3-44F8-BE87-C19EC6771CD3}" dt="2023-09-21T08:01:07.354" v="12456" actId="20577"/>
          <ac:spMkLst>
            <pc:docMk/>
            <pc:sldMk cId="2093043053" sldId="2438"/>
            <ac:spMk id="9" creationId="{B6B24EFB-329E-4BDB-8682-2837E8093CA9}"/>
          </ac:spMkLst>
        </pc:spChg>
        <pc:spChg chg="mod">
          <ac:chgData name="van Leeuwen  Sara (VPPL)" userId="7a5f1df4-0dd0-4c9e-a72f-a035cf318af6" providerId="ADAL" clId="{AAA37DE2-93D3-44F8-BE87-C19EC6771CD3}" dt="2023-09-21T07:58:43.840" v="4678" actId="947"/>
          <ac:spMkLst>
            <pc:docMk/>
            <pc:sldMk cId="2093043053" sldId="2438"/>
            <ac:spMk id="11" creationId="{5EE19B10-BD32-4855-BF14-2D427D1BFDF4}"/>
          </ac:spMkLst>
        </pc:spChg>
        <pc:graphicFrameChg chg="mod">
          <ac:chgData name="van Leeuwen  Sara (VPPL)" userId="7a5f1df4-0dd0-4c9e-a72f-a035cf318af6" providerId="ADAL" clId="{AAA37DE2-93D3-44F8-BE87-C19EC6771CD3}" dt="2023-09-21T08:01:08.297" v="15406"/>
          <ac:graphicFrameMkLst>
            <pc:docMk/>
            <pc:sldMk cId="2093043053" sldId="2438"/>
            <ac:graphicFrameMk id="5" creationId="{4EFD790E-C509-15F3-A548-0254A67D74B6}"/>
          </ac:graphicFrameMkLst>
        </pc:graphicFrameChg>
        <pc:graphicFrameChg chg="modGraphic">
          <ac:chgData name="van Leeuwen  Sara (VPPL)" userId="7a5f1df4-0dd0-4c9e-a72f-a035cf318af6" providerId="ADAL" clId="{AAA37DE2-93D3-44F8-BE87-C19EC6771CD3}" dt="2023-09-21T07:58:43.840" v="4676" actId="947"/>
          <ac:graphicFrameMkLst>
            <pc:docMk/>
            <pc:sldMk cId="2093043053" sldId="2438"/>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297" v="15408"/>
        <pc:sldMkLst>
          <pc:docMk/>
          <pc:sldMk cId="2894523313" sldId="2439"/>
        </pc:sldMkLst>
        <pc:spChg chg="mod">
          <ac:chgData name="van Leeuwen  Sara (VPPL)" userId="7a5f1df4-0dd0-4c9e-a72f-a035cf318af6" providerId="ADAL" clId="{AAA37DE2-93D3-44F8-BE87-C19EC6771CD3}" dt="2023-09-21T08:01:07.590" v="13219" actId="948"/>
          <ac:spMkLst>
            <pc:docMk/>
            <pc:sldMk cId="2894523313" sldId="2439"/>
            <ac:spMk id="2" creationId="{00000000-0000-0000-0000-000000000000}"/>
          </ac:spMkLst>
        </pc:spChg>
        <pc:spChg chg="add del mod modVis">
          <ac:chgData name="van Leeuwen  Sara (VPPL)" userId="7a5f1df4-0dd0-4c9e-a72f-a035cf318af6" providerId="ADAL" clId="{AAA37DE2-93D3-44F8-BE87-C19EC6771CD3}" dt="2023-09-21T08:01:08.115" v="15219" actId="478"/>
          <ac:spMkLst>
            <pc:docMk/>
            <pc:sldMk cId="2894523313" sldId="2439"/>
            <ac:spMk id="3" creationId="{7A77A964-8DDF-423C-FE48-C57C8645FC7D}"/>
          </ac:spMkLst>
        </pc:spChg>
        <pc:spChg chg="mod">
          <ac:chgData name="van Leeuwen  Sara (VPPL)" userId="7a5f1df4-0dd0-4c9e-a72f-a035cf318af6" providerId="ADAL" clId="{AAA37DE2-93D3-44F8-BE87-C19EC6771CD3}" dt="2023-09-21T07:58:43.871" v="4702" actId="947"/>
          <ac:spMkLst>
            <pc:docMk/>
            <pc:sldMk cId="2894523313" sldId="2439"/>
            <ac:spMk id="4" creationId="{00000000-0000-0000-0000-000000000000}"/>
          </ac:spMkLst>
        </pc:spChg>
        <pc:spChg chg="mod">
          <ac:chgData name="van Leeuwen  Sara (VPPL)" userId="7a5f1df4-0dd0-4c9e-a72f-a035cf318af6" providerId="ADAL" clId="{AAA37DE2-93D3-44F8-BE87-C19EC6771CD3}" dt="2023-09-21T07:58:43.871" v="4706" actId="947"/>
          <ac:spMkLst>
            <pc:docMk/>
            <pc:sldMk cId="2894523313" sldId="2439"/>
            <ac:spMk id="6" creationId="{00000000-0000-0000-0000-000000000000}"/>
          </ac:spMkLst>
        </pc:spChg>
        <pc:spChg chg="mod">
          <ac:chgData name="van Leeuwen  Sara (VPPL)" userId="7a5f1df4-0dd0-4c9e-a72f-a035cf318af6" providerId="ADAL" clId="{AAA37DE2-93D3-44F8-BE87-C19EC6771CD3}" dt="2023-09-21T08:01:07.370" v="12521" actId="790"/>
          <ac:spMkLst>
            <pc:docMk/>
            <pc:sldMk cId="2894523313" sldId="2439"/>
            <ac:spMk id="8" creationId="{D75AFB06-C0D5-C44A-AFA0-9276A7192873}"/>
          </ac:spMkLst>
        </pc:spChg>
        <pc:spChg chg="mod">
          <ac:chgData name="van Leeuwen  Sara (VPPL)" userId="7a5f1df4-0dd0-4c9e-a72f-a035cf318af6" providerId="ADAL" clId="{AAA37DE2-93D3-44F8-BE87-C19EC6771CD3}" dt="2023-09-21T08:01:07.370" v="12518" actId="20577"/>
          <ac:spMkLst>
            <pc:docMk/>
            <pc:sldMk cId="2894523313" sldId="2439"/>
            <ac:spMk id="9" creationId="{B6B24EFB-329E-4BDB-8682-2837E8093CA9}"/>
          </ac:spMkLst>
        </pc:spChg>
        <pc:spChg chg="mod">
          <ac:chgData name="van Leeuwen  Sara (VPPL)" userId="7a5f1df4-0dd0-4c9e-a72f-a035cf318af6" providerId="ADAL" clId="{AAA37DE2-93D3-44F8-BE87-C19EC6771CD3}" dt="2023-09-21T07:58:43.887" v="4740" actId="947"/>
          <ac:spMkLst>
            <pc:docMk/>
            <pc:sldMk cId="2894523313" sldId="2439"/>
            <ac:spMk id="11" creationId="{5EE19B10-BD32-4855-BF14-2D427D1BFDF4}"/>
          </ac:spMkLst>
        </pc:spChg>
        <pc:graphicFrameChg chg="mod">
          <ac:chgData name="van Leeuwen  Sara (VPPL)" userId="7a5f1df4-0dd0-4c9e-a72f-a035cf318af6" providerId="ADAL" clId="{AAA37DE2-93D3-44F8-BE87-C19EC6771CD3}" dt="2023-09-21T08:01:08.297" v="15408"/>
          <ac:graphicFrameMkLst>
            <pc:docMk/>
            <pc:sldMk cId="2894523313" sldId="2439"/>
            <ac:graphicFrameMk id="5" creationId="{4EFD790E-C509-15F3-A548-0254A67D74B6}"/>
          </ac:graphicFrameMkLst>
        </pc:graphicFrameChg>
        <pc:graphicFrameChg chg="modGraphic">
          <ac:chgData name="van Leeuwen  Sara (VPPL)" userId="7a5f1df4-0dd0-4c9e-a72f-a035cf318af6" providerId="ADAL" clId="{AAA37DE2-93D3-44F8-BE87-C19EC6771CD3}" dt="2023-09-21T07:58:43.887" v="4738" actId="947"/>
          <ac:graphicFrameMkLst>
            <pc:docMk/>
            <pc:sldMk cId="2894523313" sldId="2439"/>
            <ac:graphicFrameMk id="10" creationId="{9B7E8B9D-5F9A-4F11-B14F-FECAB6CF2579}"/>
          </ac:graphicFrameMkLst>
        </pc:graphicFrameChg>
      </pc:sldChg>
      <pc:sldChg chg="addSp delSp modSp del mod">
        <pc:chgData name="van Leeuwen  Sara (VPPL)" userId="7a5f1df4-0dd0-4c9e-a72f-a035cf318af6" providerId="ADAL" clId="{AAA37DE2-93D3-44F8-BE87-C19EC6771CD3}" dt="2023-09-20T14:15:03.084" v="2992" actId="47"/>
        <pc:sldMkLst>
          <pc:docMk/>
          <pc:sldMk cId="1561310458" sldId="2440"/>
        </pc:sldMkLst>
        <pc:spChg chg="mod">
          <ac:chgData name="van Leeuwen  Sara (VPPL)" userId="7a5f1df4-0dd0-4c9e-a72f-a035cf318af6" providerId="ADAL" clId="{AAA37DE2-93D3-44F8-BE87-C19EC6771CD3}" dt="2023-09-20T13:49:32.962" v="2169" actId="948"/>
          <ac:spMkLst>
            <pc:docMk/>
            <pc:sldMk cId="1561310458" sldId="2440"/>
            <ac:spMk id="2" creationId="{00000000-0000-0000-0000-000000000000}"/>
          </ac:spMkLst>
        </pc:spChg>
        <pc:spChg chg="add del mod modVis">
          <ac:chgData name="van Leeuwen  Sara (VPPL)" userId="7a5f1df4-0dd0-4c9e-a72f-a035cf318af6" providerId="ADAL" clId="{AAA37DE2-93D3-44F8-BE87-C19EC6771CD3}" dt="2023-09-20T13:49:26.590" v="2117"/>
          <ac:spMkLst>
            <pc:docMk/>
            <pc:sldMk cId="1561310458" sldId="2440"/>
            <ac:spMk id="7" creationId="{30D8BCA9-2B26-1518-B373-E4D27E9BE930}"/>
          </ac:spMkLst>
        </pc:spChg>
        <pc:spChg chg="add del mod modVis">
          <ac:chgData name="van Leeuwen  Sara (VPPL)" userId="7a5f1df4-0dd0-4c9e-a72f-a035cf318af6" providerId="ADAL" clId="{AAA37DE2-93D3-44F8-BE87-C19EC6771CD3}" dt="2023-09-20T13:49:31.901" v="2163"/>
          <ac:spMkLst>
            <pc:docMk/>
            <pc:sldMk cId="1561310458" sldId="2440"/>
            <ac:spMk id="11" creationId="{008E6748-1E74-1DB8-2138-54A162B98D51}"/>
          </ac:spMkLst>
        </pc:spChg>
        <pc:spChg chg="add del mod modVis">
          <ac:chgData name="van Leeuwen  Sara (VPPL)" userId="7a5f1df4-0dd0-4c9e-a72f-a035cf318af6" providerId="ADAL" clId="{AAA37DE2-93D3-44F8-BE87-C19EC6771CD3}" dt="2023-09-20T13:49:32.987" v="2210"/>
          <ac:spMkLst>
            <pc:docMk/>
            <pc:sldMk cId="1561310458" sldId="2440"/>
            <ac:spMk id="12" creationId="{58D1CC22-3B78-BCBE-CEF2-8DECC799C4A0}"/>
          </ac:spMkLst>
        </pc:spChg>
        <pc:graphicFrameChg chg="mod">
          <ac:chgData name="van Leeuwen  Sara (VPPL)" userId="7a5f1df4-0dd0-4c9e-a72f-a035cf318af6" providerId="ADAL" clId="{AAA37DE2-93D3-44F8-BE87-C19EC6771CD3}" dt="2023-09-20T13:49:32.987" v="2212"/>
          <ac:graphicFrameMkLst>
            <pc:docMk/>
            <pc:sldMk cId="1561310458" sldId="2440"/>
            <ac:graphicFrameMk id="5" creationId="{4EFD790E-C509-15F3-A548-0254A67D74B6}"/>
          </ac:graphicFrameMkLst>
        </pc:graphicFrameChg>
        <pc:graphicFrameChg chg="modGraphic">
          <ac:chgData name="van Leeuwen  Sara (VPPL)" userId="7a5f1df4-0dd0-4c9e-a72f-a035cf318af6" providerId="ADAL" clId="{AAA37DE2-93D3-44F8-BE87-C19EC6771CD3}" dt="2023-09-20T13:49:08.101" v="2073" actId="20577"/>
          <ac:graphicFrameMkLst>
            <pc:docMk/>
            <pc:sldMk cId="1561310458" sldId="2440"/>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407" v="15466"/>
        <pc:sldMkLst>
          <pc:docMk/>
          <pc:sldMk cId="3420152249" sldId="2442"/>
        </pc:sldMkLst>
        <pc:spChg chg="mod">
          <ac:chgData name="van Leeuwen  Sara (VPPL)" userId="7a5f1df4-0dd0-4c9e-a72f-a035cf318af6" providerId="ADAL" clId="{AAA37DE2-93D3-44F8-BE87-C19EC6771CD3}" dt="2023-09-21T08:01:08.093" v="15173" actId="948"/>
          <ac:spMkLst>
            <pc:docMk/>
            <pc:sldMk cId="3420152249" sldId="2442"/>
            <ac:spMk id="2" creationId="{00000000-0000-0000-0000-000000000000}"/>
          </ac:spMkLst>
        </pc:spChg>
        <pc:spChg chg="mod">
          <ac:chgData name="van Leeuwen  Sara (VPPL)" userId="7a5f1df4-0dd0-4c9e-a72f-a035cf318af6" providerId="ADAL" clId="{AAA37DE2-93D3-44F8-BE87-C19EC6771CD3}" dt="2023-09-21T08:01:07.354" v="12439" actId="790"/>
          <ac:spMkLst>
            <pc:docMk/>
            <pc:sldMk cId="3420152249" sldId="2442"/>
            <ac:spMk id="3" creationId="{DA9D408E-409A-09DE-FA88-268F95DF1BEC}"/>
          </ac:spMkLst>
        </pc:spChg>
        <pc:spChg chg="mod">
          <ac:chgData name="van Leeuwen  Sara (VPPL)" userId="7a5f1df4-0dd0-4c9e-a72f-a035cf318af6" providerId="ADAL" clId="{AAA37DE2-93D3-44F8-BE87-C19EC6771CD3}" dt="2023-09-21T07:58:43.776" v="4608" actId="947"/>
          <ac:spMkLst>
            <pc:docMk/>
            <pc:sldMk cId="3420152249" sldId="2442"/>
            <ac:spMk id="4" creationId="{00000000-0000-0000-0000-000000000000}"/>
          </ac:spMkLst>
        </pc:spChg>
        <pc:spChg chg="mod">
          <ac:chgData name="van Leeuwen  Sara (VPPL)" userId="7a5f1df4-0dd0-4c9e-a72f-a035cf318af6" providerId="ADAL" clId="{AAA37DE2-93D3-44F8-BE87-C19EC6771CD3}" dt="2023-09-21T07:58:43.776" v="4612" actId="947"/>
          <ac:spMkLst>
            <pc:docMk/>
            <pc:sldMk cId="3420152249" sldId="2442"/>
            <ac:spMk id="6" creationId="{00000000-0000-0000-0000-000000000000}"/>
          </ac:spMkLst>
        </pc:spChg>
        <pc:spChg chg="add del mod modVis">
          <ac:chgData name="van Leeuwen  Sara (VPPL)" userId="7a5f1df4-0dd0-4c9e-a72f-a035cf318af6" providerId="ADAL" clId="{AAA37DE2-93D3-44F8-BE87-C19EC6771CD3}" dt="2023-09-21T08:01:08.141" v="15333" actId="478"/>
          <ac:spMkLst>
            <pc:docMk/>
            <pc:sldMk cId="3420152249" sldId="2442"/>
            <ac:spMk id="7" creationId="{A8013A73-A06B-42C5-8B47-3813BA80A94C}"/>
          </ac:spMkLst>
        </pc:spChg>
        <pc:spChg chg="add del mod modVis">
          <ac:chgData name="van Leeuwen  Sara (VPPL)" userId="7a5f1df4-0dd0-4c9e-a72f-a035cf318af6" providerId="ADAL" clId="{AAA37DE2-93D3-44F8-BE87-C19EC6771CD3}" dt="2023-09-20T12:11:35.766" v="618"/>
          <ac:spMkLst>
            <pc:docMk/>
            <pc:sldMk cId="3420152249" sldId="2442"/>
            <ac:spMk id="7" creationId="{DA73FA87-B87D-36A6-C00E-164FDAD1F119}"/>
          </ac:spMkLst>
        </pc:spChg>
        <pc:spChg chg="add del mod modVis">
          <ac:chgData name="van Leeuwen  Sara (VPPL)" userId="7a5f1df4-0dd0-4c9e-a72f-a035cf318af6" providerId="ADAL" clId="{AAA37DE2-93D3-44F8-BE87-C19EC6771CD3}" dt="2023-09-20T12:11:38.789" v="701"/>
          <ac:spMkLst>
            <pc:docMk/>
            <pc:sldMk cId="3420152249" sldId="2442"/>
            <ac:spMk id="8" creationId="{68C3A387-7196-CC58-98C9-9E3C1B36DA8E}"/>
          </ac:spMkLst>
        </pc:spChg>
        <pc:spChg chg="mod">
          <ac:chgData name="van Leeuwen  Sara (VPPL)" userId="7a5f1df4-0dd0-4c9e-a72f-a035cf318af6" providerId="ADAL" clId="{AAA37DE2-93D3-44F8-BE87-C19EC6771CD3}" dt="2023-09-21T07:58:43.776" v="4614" actId="947"/>
          <ac:spMkLst>
            <pc:docMk/>
            <pc:sldMk cId="3420152249" sldId="2442"/>
            <ac:spMk id="9" creationId="{DAD87841-70CF-4F6D-B9E5-42EAA3A807C7}"/>
          </ac:spMkLst>
        </pc:spChg>
        <pc:spChg chg="add del mod modVis">
          <ac:chgData name="van Leeuwen  Sara (VPPL)" userId="7a5f1df4-0dd0-4c9e-a72f-a035cf318af6" providerId="ADAL" clId="{AAA37DE2-93D3-44F8-BE87-C19EC6771CD3}" dt="2023-09-20T12:11:40.427" v="778"/>
          <ac:spMkLst>
            <pc:docMk/>
            <pc:sldMk cId="3420152249" sldId="2442"/>
            <ac:spMk id="10" creationId="{768546DF-C3BC-8279-30FA-F2902C2EB5FD}"/>
          </ac:spMkLst>
        </pc:spChg>
        <pc:spChg chg="add del mod modVis">
          <ac:chgData name="van Leeuwen  Sara (VPPL)" userId="7a5f1df4-0dd0-4c9e-a72f-a035cf318af6" providerId="ADAL" clId="{AAA37DE2-93D3-44F8-BE87-C19EC6771CD3}" dt="2023-09-20T12:11:41.125" v="854"/>
          <ac:spMkLst>
            <pc:docMk/>
            <pc:sldMk cId="3420152249" sldId="2442"/>
            <ac:spMk id="11" creationId="{C8DEF1A7-4579-57AB-ABEE-EEB52F4D53AB}"/>
          </ac:spMkLst>
        </pc:spChg>
        <pc:spChg chg="mod">
          <ac:chgData name="van Leeuwen  Sara (VPPL)" userId="7a5f1df4-0dd0-4c9e-a72f-a035cf318af6" providerId="ADAL" clId="{AAA37DE2-93D3-44F8-BE87-C19EC6771CD3}" dt="2023-09-21T08:01:07.354" v="12427" actId="790"/>
          <ac:spMkLst>
            <pc:docMk/>
            <pc:sldMk cId="3420152249" sldId="2442"/>
            <ac:spMk id="12" creationId="{D75AFB06-C0D5-C44A-AFA0-9276A7192873}"/>
          </ac:spMkLst>
        </pc:spChg>
        <pc:spChg chg="add del mod modVis">
          <ac:chgData name="van Leeuwen  Sara (VPPL)" userId="7a5f1df4-0dd0-4c9e-a72f-a035cf318af6" providerId="ADAL" clId="{AAA37DE2-93D3-44F8-BE87-C19EC6771CD3}" dt="2023-09-20T12:11:43.952" v="943"/>
          <ac:spMkLst>
            <pc:docMk/>
            <pc:sldMk cId="3420152249" sldId="2442"/>
            <ac:spMk id="13" creationId="{B280DC90-96EC-4EA8-A9A4-EDCDA28F554A}"/>
          </ac:spMkLst>
        </pc:spChg>
        <pc:spChg chg="add del mod modVis">
          <ac:chgData name="van Leeuwen  Sara (VPPL)" userId="7a5f1df4-0dd0-4c9e-a72f-a035cf318af6" providerId="ADAL" clId="{AAA37DE2-93D3-44F8-BE87-C19EC6771CD3}" dt="2023-09-20T12:11:48.250" v="1003"/>
          <ac:spMkLst>
            <pc:docMk/>
            <pc:sldMk cId="3420152249" sldId="2442"/>
            <ac:spMk id="14" creationId="{7B83407E-AADF-1A5A-ABB7-408BE0F834B9}"/>
          </ac:spMkLst>
        </pc:spChg>
        <pc:spChg chg="add del mod modVis">
          <ac:chgData name="van Leeuwen  Sara (VPPL)" userId="7a5f1df4-0dd0-4c9e-a72f-a035cf318af6" providerId="ADAL" clId="{AAA37DE2-93D3-44F8-BE87-C19EC6771CD3}" dt="2023-09-20T12:12:41.761" v="1114"/>
          <ac:spMkLst>
            <pc:docMk/>
            <pc:sldMk cId="3420152249" sldId="2442"/>
            <ac:spMk id="15" creationId="{CD03D26F-7DB3-7DAD-AC0B-48B7C854EEF6}"/>
          </ac:spMkLst>
        </pc:spChg>
        <pc:spChg chg="mod">
          <ac:chgData name="van Leeuwen  Sara (VPPL)" userId="7a5f1df4-0dd0-4c9e-a72f-a035cf318af6" providerId="ADAL" clId="{AAA37DE2-93D3-44F8-BE87-C19EC6771CD3}" dt="2023-09-21T08:01:07.354" v="12433" actId="790"/>
          <ac:spMkLst>
            <pc:docMk/>
            <pc:sldMk cId="3420152249" sldId="2442"/>
            <ac:spMk id="19" creationId="{A0AA57D8-6525-B82E-1C62-1D086A2C61F0}"/>
          </ac:spMkLst>
        </pc:spChg>
        <pc:spChg chg="mod">
          <ac:chgData name="van Leeuwen  Sara (VPPL)" userId="7a5f1df4-0dd0-4c9e-a72f-a035cf318af6" providerId="ADAL" clId="{AAA37DE2-93D3-44F8-BE87-C19EC6771CD3}" dt="2023-09-21T08:01:07.354" v="12435" actId="790"/>
          <ac:spMkLst>
            <pc:docMk/>
            <pc:sldMk cId="3420152249" sldId="2442"/>
            <ac:spMk id="20" creationId="{CF7B0E3C-915D-6129-4612-FFB31E8E9DE1}"/>
          </ac:spMkLst>
        </pc:spChg>
        <pc:spChg chg="mod">
          <ac:chgData name="van Leeuwen  Sara (VPPL)" userId="7a5f1df4-0dd0-4c9e-a72f-a035cf318af6" providerId="ADAL" clId="{AAA37DE2-93D3-44F8-BE87-C19EC6771CD3}" dt="2023-09-21T08:01:07.354" v="12437" actId="790"/>
          <ac:spMkLst>
            <pc:docMk/>
            <pc:sldMk cId="3420152249" sldId="2442"/>
            <ac:spMk id="24" creationId="{75D38813-0E3F-5E16-F430-0CD6F710989C}"/>
          </ac:spMkLst>
        </pc:spChg>
        <pc:graphicFrameChg chg="mod">
          <ac:chgData name="van Leeuwen  Sara (VPPL)" userId="7a5f1df4-0dd0-4c9e-a72f-a035cf318af6" providerId="ADAL" clId="{AAA37DE2-93D3-44F8-BE87-C19EC6771CD3}" dt="2023-09-21T08:01:08.407" v="15466"/>
          <ac:graphicFrameMkLst>
            <pc:docMk/>
            <pc:sldMk cId="3420152249" sldId="2442"/>
            <ac:graphicFrameMk id="5" creationId="{6CD3BF2A-4B05-1D82-BE24-6EDADE277B81}"/>
          </ac:graphicFrameMkLst>
        </pc:graphicFrameChg>
      </pc:sldChg>
      <pc:sldChg chg="addSp delSp modSp mod modNotes">
        <pc:chgData name="van Leeuwen  Sara (VPPL)" userId="7a5f1df4-0dd0-4c9e-a72f-a035cf318af6" providerId="ADAL" clId="{AAA37DE2-93D3-44F8-BE87-C19EC6771CD3}" dt="2023-09-21T08:01:08.392" v="15458"/>
        <pc:sldMkLst>
          <pc:docMk/>
          <pc:sldMk cId="3191170877" sldId="2443"/>
        </pc:sldMkLst>
        <pc:spChg chg="mod">
          <ac:chgData name="van Leeuwen  Sara (VPPL)" userId="7a5f1df4-0dd0-4c9e-a72f-a035cf318af6" providerId="ADAL" clId="{AAA37DE2-93D3-44F8-BE87-C19EC6771CD3}" dt="2023-09-21T08:01:08.078" v="15100" actId="948"/>
          <ac:spMkLst>
            <pc:docMk/>
            <pc:sldMk cId="3191170877" sldId="2443"/>
            <ac:spMk id="2" creationId="{690BD18C-4CB3-58F7-B41A-F4746B7DAA6D}"/>
          </ac:spMkLst>
        </pc:spChg>
        <pc:spChg chg="mod">
          <ac:chgData name="van Leeuwen  Sara (VPPL)" userId="7a5f1df4-0dd0-4c9e-a72f-a035cf318af6" providerId="ADAL" clId="{AAA37DE2-93D3-44F8-BE87-C19EC6771CD3}" dt="2023-09-21T08:01:07.338" v="12395" actId="790"/>
          <ac:spMkLst>
            <pc:docMk/>
            <pc:sldMk cId="3191170877" sldId="2443"/>
            <ac:spMk id="3" creationId="{74ABCEC1-985B-1C66-2D33-43D74A38B600}"/>
          </ac:spMkLst>
        </pc:spChg>
        <pc:spChg chg="mod">
          <ac:chgData name="van Leeuwen  Sara (VPPL)" userId="7a5f1df4-0dd0-4c9e-a72f-a035cf318af6" providerId="ADAL" clId="{AAA37DE2-93D3-44F8-BE87-C19EC6771CD3}" dt="2023-09-21T07:58:43.745" v="4580" actId="947"/>
          <ac:spMkLst>
            <pc:docMk/>
            <pc:sldMk cId="3191170877" sldId="2443"/>
            <ac:spMk id="4" creationId="{9670A952-0139-987A-EC8F-4073EDA64600}"/>
          </ac:spMkLst>
        </pc:spChg>
        <pc:spChg chg="mod">
          <ac:chgData name="van Leeuwen  Sara (VPPL)" userId="7a5f1df4-0dd0-4c9e-a72f-a035cf318af6" providerId="ADAL" clId="{AAA37DE2-93D3-44F8-BE87-C19EC6771CD3}" dt="2023-09-21T08:01:07.338" v="12399" actId="790"/>
          <ac:spMkLst>
            <pc:docMk/>
            <pc:sldMk cId="3191170877" sldId="2443"/>
            <ac:spMk id="5" creationId="{E73758D5-CF6A-FFB7-8257-04B99498E9F0}"/>
          </ac:spMkLst>
        </pc:spChg>
        <pc:spChg chg="mod">
          <ac:chgData name="van Leeuwen  Sara (VPPL)" userId="7a5f1df4-0dd0-4c9e-a72f-a035cf318af6" providerId="ADAL" clId="{AAA37DE2-93D3-44F8-BE87-C19EC6771CD3}" dt="2023-09-21T07:58:43.745" v="4584" actId="947"/>
          <ac:spMkLst>
            <pc:docMk/>
            <pc:sldMk cId="3191170877" sldId="2443"/>
            <ac:spMk id="6" creationId="{6EFA5949-A927-7AC7-C6ED-10D752493660}"/>
          </ac:spMkLst>
        </pc:spChg>
        <pc:spChg chg="add del mod modVis">
          <ac:chgData name="van Leeuwen  Sara (VPPL)" userId="7a5f1df4-0dd0-4c9e-a72f-a035cf318af6" providerId="ADAL" clId="{AAA37DE2-93D3-44F8-BE87-C19EC6771CD3}" dt="2023-09-21T08:01:08.141" v="15327" actId="478"/>
          <ac:spMkLst>
            <pc:docMk/>
            <pc:sldMk cId="3191170877" sldId="2443"/>
            <ac:spMk id="7" creationId="{5E279767-987C-C0B3-81A3-4B7C2D2305D0}"/>
          </ac:spMkLst>
        </pc:spChg>
        <pc:spChg chg="add del mod modVis">
          <ac:chgData name="van Leeuwen  Sara (VPPL)" userId="7a5f1df4-0dd0-4c9e-a72f-a035cf318af6" providerId="ADAL" clId="{AAA37DE2-93D3-44F8-BE87-C19EC6771CD3}" dt="2023-09-20T12:11:11.931" v="325"/>
          <ac:spMkLst>
            <pc:docMk/>
            <pc:sldMk cId="3191170877" sldId="2443"/>
            <ac:spMk id="7" creationId="{CF272EBE-85A7-C29D-09F4-D48C41E633EE}"/>
          </ac:spMkLst>
        </pc:spChg>
        <pc:spChg chg="add del mod modVis">
          <ac:chgData name="van Leeuwen  Sara (VPPL)" userId="7a5f1df4-0dd0-4c9e-a72f-a035cf318af6" providerId="ADAL" clId="{AAA37DE2-93D3-44F8-BE87-C19EC6771CD3}" dt="2023-09-20T12:11:16.227" v="405"/>
          <ac:spMkLst>
            <pc:docMk/>
            <pc:sldMk cId="3191170877" sldId="2443"/>
            <ac:spMk id="9" creationId="{AEBA2A29-0C70-503E-059B-7BE46E879BE6}"/>
          </ac:spMkLst>
        </pc:spChg>
        <pc:spChg chg="add del mod modVis">
          <ac:chgData name="van Leeuwen  Sara (VPPL)" userId="7a5f1df4-0dd0-4c9e-a72f-a035cf318af6" providerId="ADAL" clId="{AAA37DE2-93D3-44F8-BE87-C19EC6771CD3}" dt="2023-09-20T12:11:17.174" v="482"/>
          <ac:spMkLst>
            <pc:docMk/>
            <pc:sldMk cId="3191170877" sldId="2443"/>
            <ac:spMk id="10" creationId="{61A11D76-983E-389D-FE74-83F99F052BAF}"/>
          </ac:spMkLst>
        </pc:spChg>
        <pc:spChg chg="add del mod modVis">
          <ac:chgData name="van Leeuwen  Sara (VPPL)" userId="7a5f1df4-0dd0-4c9e-a72f-a035cf318af6" providerId="ADAL" clId="{AAA37DE2-93D3-44F8-BE87-C19EC6771CD3}" dt="2023-09-20T12:11:23.015" v="542"/>
          <ac:spMkLst>
            <pc:docMk/>
            <pc:sldMk cId="3191170877" sldId="2443"/>
            <ac:spMk id="11" creationId="{4EE47623-79E5-5163-467B-7937FFD7DEC6}"/>
          </ac:spMkLst>
        </pc:spChg>
        <pc:spChg chg="add del mod modVis">
          <ac:chgData name="van Leeuwen  Sara (VPPL)" userId="7a5f1df4-0dd0-4c9e-a72f-a035cf318af6" providerId="ADAL" clId="{AAA37DE2-93D3-44F8-BE87-C19EC6771CD3}" dt="2023-09-20T12:12:38.440" v="1069"/>
          <ac:spMkLst>
            <pc:docMk/>
            <pc:sldMk cId="3191170877" sldId="2443"/>
            <ac:spMk id="12" creationId="{787ECF8B-5639-C721-6FDA-247CCE1DECC1}"/>
          </ac:spMkLst>
        </pc:spChg>
        <pc:graphicFrameChg chg="mod">
          <ac:chgData name="van Leeuwen  Sara (VPPL)" userId="7a5f1df4-0dd0-4c9e-a72f-a035cf318af6" providerId="ADAL" clId="{AAA37DE2-93D3-44F8-BE87-C19EC6771CD3}" dt="2023-09-21T08:01:08.392" v="15458"/>
          <ac:graphicFrameMkLst>
            <pc:docMk/>
            <pc:sldMk cId="3191170877" sldId="2443"/>
            <ac:graphicFrameMk id="8" creationId="{FF86D724-693B-0D9D-47EA-2D497893D3B1}"/>
          </ac:graphicFrameMkLst>
        </pc:graphicFrameChg>
        <pc:picChg chg="add mod">
          <ac:chgData name="van Leeuwen  Sara (VPPL)" userId="7a5f1df4-0dd0-4c9e-a72f-a035cf318af6" providerId="ADAL" clId="{AAA37DE2-93D3-44F8-BE87-C19EC6771CD3}" dt="2023-09-20T13:42:57.902" v="1739" actId="27614"/>
          <ac:picMkLst>
            <pc:docMk/>
            <pc:sldMk cId="3191170877" sldId="2443"/>
            <ac:picMk id="9" creationId="{B6B98562-4770-4F0F-3571-C6BF8AAE4F13}"/>
          </ac:picMkLst>
        </pc:picChg>
        <pc:picChg chg="del">
          <ac:chgData name="van Leeuwen  Sara (VPPL)" userId="7a5f1df4-0dd0-4c9e-a72f-a035cf318af6" providerId="ADAL" clId="{AAA37DE2-93D3-44F8-BE87-C19EC6771CD3}" dt="2023-09-20T13:34:50.457" v="1703" actId="21"/>
          <ac:picMkLst>
            <pc:docMk/>
            <pc:sldMk cId="3191170877" sldId="2443"/>
            <ac:picMk id="13" creationId="{92ADF850-A62D-53A7-659C-2F95888667A6}"/>
          </ac:picMkLst>
        </pc:picChg>
        <pc:picChg chg="del">
          <ac:chgData name="van Leeuwen  Sara (VPPL)" userId="7a5f1df4-0dd0-4c9e-a72f-a035cf318af6" providerId="ADAL" clId="{AAA37DE2-93D3-44F8-BE87-C19EC6771CD3}" dt="2023-09-20T13:34:50.457" v="1703" actId="21"/>
          <ac:picMkLst>
            <pc:docMk/>
            <pc:sldMk cId="3191170877" sldId="2443"/>
            <ac:picMk id="14" creationId="{87F4E5DE-EE39-83A8-1A0C-CC5591CAB76B}"/>
          </ac:picMkLst>
        </pc:picChg>
        <pc:picChg chg="del">
          <ac:chgData name="van Leeuwen  Sara (VPPL)" userId="7a5f1df4-0dd0-4c9e-a72f-a035cf318af6" providerId="ADAL" clId="{AAA37DE2-93D3-44F8-BE87-C19EC6771CD3}" dt="2023-09-20T13:34:50.457" v="1703" actId="21"/>
          <ac:picMkLst>
            <pc:docMk/>
            <pc:sldMk cId="3191170877" sldId="2443"/>
            <ac:picMk id="15" creationId="{A5B5413E-3AB6-6BCB-B61F-BC0480B2F119}"/>
          </ac:picMkLst>
        </pc:picChg>
        <pc:picChg chg="del">
          <ac:chgData name="van Leeuwen  Sara (VPPL)" userId="7a5f1df4-0dd0-4c9e-a72f-a035cf318af6" providerId="ADAL" clId="{AAA37DE2-93D3-44F8-BE87-C19EC6771CD3}" dt="2023-09-20T13:34:50.457" v="1703" actId="21"/>
          <ac:picMkLst>
            <pc:docMk/>
            <pc:sldMk cId="3191170877" sldId="2443"/>
            <ac:picMk id="16" creationId="{9C353BF5-5831-DC36-D15F-D3D70B8D3D82}"/>
          </ac:picMkLst>
        </pc:picChg>
        <pc:picChg chg="del">
          <ac:chgData name="van Leeuwen  Sara (VPPL)" userId="7a5f1df4-0dd0-4c9e-a72f-a035cf318af6" providerId="ADAL" clId="{AAA37DE2-93D3-44F8-BE87-C19EC6771CD3}" dt="2023-09-20T13:34:50.457" v="1703" actId="21"/>
          <ac:picMkLst>
            <pc:docMk/>
            <pc:sldMk cId="3191170877" sldId="2443"/>
            <ac:picMk id="17" creationId="{C8769AF6-8D06-05B7-E408-734752A36478}"/>
          </ac:picMkLst>
        </pc:picChg>
      </pc:sldChg>
      <pc:sldChg chg="addSp delSp modSp add del mod ord modNotes">
        <pc:chgData name="van Leeuwen  Sara (VPPL)" userId="7a5f1df4-0dd0-4c9e-a72f-a035cf318af6" providerId="ADAL" clId="{AAA37DE2-93D3-44F8-BE87-C19EC6771CD3}" dt="2023-09-21T09:26:35.516" v="17238" actId="2696"/>
        <pc:sldMkLst>
          <pc:docMk/>
          <pc:sldMk cId="1284695877" sldId="2444"/>
        </pc:sldMkLst>
        <pc:spChg chg="mod">
          <ac:chgData name="van Leeuwen  Sara (VPPL)" userId="7a5f1df4-0dd0-4c9e-a72f-a035cf318af6" providerId="ADAL" clId="{AAA37DE2-93D3-44F8-BE87-C19EC6771CD3}" dt="2023-09-21T08:01:08.015" v="14761" actId="948"/>
          <ac:spMkLst>
            <pc:docMk/>
            <pc:sldMk cId="1284695877" sldId="2444"/>
            <ac:spMk id="2" creationId="{00000000-0000-0000-0000-000000000000}"/>
          </ac:spMkLst>
        </pc:spChg>
        <pc:spChg chg="mod">
          <ac:chgData name="van Leeuwen  Sara (VPPL)" userId="7a5f1df4-0dd0-4c9e-a72f-a035cf318af6" providerId="ADAL" clId="{AAA37DE2-93D3-44F8-BE87-C19EC6771CD3}" dt="2023-09-21T09:17:35.037" v="17165" actId="33524"/>
          <ac:spMkLst>
            <pc:docMk/>
            <pc:sldMk cId="1284695877" sldId="2444"/>
            <ac:spMk id="3" creationId="{00000000-0000-0000-0000-000000000000}"/>
          </ac:spMkLst>
        </pc:spChg>
        <pc:spChg chg="mod">
          <ac:chgData name="van Leeuwen  Sara (VPPL)" userId="7a5f1df4-0dd0-4c9e-a72f-a035cf318af6" providerId="ADAL" clId="{AAA37DE2-93D3-44F8-BE87-C19EC6771CD3}" dt="2023-09-21T07:58:43.318" v="4114" actId="947"/>
          <ac:spMkLst>
            <pc:docMk/>
            <pc:sldMk cId="1284695877" sldId="2444"/>
            <ac:spMk id="4" creationId="{00000000-0000-0000-0000-000000000000}"/>
          </ac:spMkLst>
        </pc:spChg>
        <pc:spChg chg="mod">
          <ac:chgData name="van Leeuwen  Sara (VPPL)" userId="7a5f1df4-0dd0-4c9e-a72f-a035cf318af6" providerId="ADAL" clId="{AAA37DE2-93D3-44F8-BE87-C19EC6771CD3}" dt="2023-09-21T07:58:43.318" v="4120" actId="947"/>
          <ac:spMkLst>
            <pc:docMk/>
            <pc:sldMk cId="1284695877" sldId="2444"/>
            <ac:spMk id="5" creationId="{C4E4176B-2361-477E-A786-7B1E08DDED95}"/>
          </ac:spMkLst>
        </pc:spChg>
        <pc:spChg chg="mod">
          <ac:chgData name="van Leeuwen  Sara (VPPL)" userId="7a5f1df4-0dd0-4c9e-a72f-a035cf318af6" providerId="ADAL" clId="{AAA37DE2-93D3-44F8-BE87-C19EC6771CD3}" dt="2023-09-21T07:58:43.318" v="4118" actId="947"/>
          <ac:spMkLst>
            <pc:docMk/>
            <pc:sldMk cId="1284695877" sldId="2444"/>
            <ac:spMk id="6" creationId="{00000000-0000-0000-0000-000000000000}"/>
          </ac:spMkLst>
        </pc:spChg>
        <pc:spChg chg="add del mod modVis">
          <ac:chgData name="van Leeuwen  Sara (VPPL)" userId="7a5f1df4-0dd0-4c9e-a72f-a035cf318af6" providerId="ADAL" clId="{AAA37DE2-93D3-44F8-BE87-C19EC6771CD3}" dt="2023-09-21T08:01:08.141" v="15308" actId="478"/>
          <ac:spMkLst>
            <pc:docMk/>
            <pc:sldMk cId="1284695877" sldId="2444"/>
            <ac:spMk id="7" creationId="{F409E551-B6F2-48EA-0E6A-9AA079C6A7F6}"/>
          </ac:spMkLst>
        </pc:spChg>
        <pc:spChg chg="mod">
          <ac:chgData name="van Leeuwen  Sara (VPPL)" userId="7a5f1df4-0dd0-4c9e-a72f-a035cf318af6" providerId="ADAL" clId="{AAA37DE2-93D3-44F8-BE87-C19EC6771CD3}" dt="2023-09-21T08:01:07.244" v="11933" actId="790"/>
          <ac:spMkLst>
            <pc:docMk/>
            <pc:sldMk cId="1284695877" sldId="2444"/>
            <ac:spMk id="8" creationId="{D75AFB06-C0D5-C44A-AFA0-9276A7192873}"/>
          </ac:spMkLst>
        </pc:spChg>
        <pc:graphicFrameChg chg="mod">
          <ac:chgData name="van Leeuwen  Sara (VPPL)" userId="7a5f1df4-0dd0-4c9e-a72f-a035cf318af6" providerId="ADAL" clId="{AAA37DE2-93D3-44F8-BE87-C19EC6771CD3}" dt="2023-09-21T09:10:57.363" v="17076"/>
          <ac:graphicFrameMkLst>
            <pc:docMk/>
            <pc:sldMk cId="1284695877" sldId="2444"/>
            <ac:graphicFrameMk id="9" creationId="{790F68F1-68CA-ADEE-CF64-C1974CB68317}"/>
          </ac:graphicFrameMkLst>
        </pc:graphicFrameChg>
      </pc:sldChg>
      <pc:sldChg chg="add">
        <pc:chgData name="van Leeuwen  Sara (VPPL)" userId="7a5f1df4-0dd0-4c9e-a72f-a035cf318af6" providerId="ADAL" clId="{AAA37DE2-93D3-44F8-BE87-C19EC6771CD3}" dt="2023-09-21T09:26:40.301" v="17239"/>
        <pc:sldMkLst>
          <pc:docMk/>
          <pc:sldMk cId="3213314599" sldId="2444"/>
        </pc:sldMkLst>
      </pc:sldChg>
      <pc:sldChg chg="addSp delSp modSp add del mod ord modNotes">
        <pc:chgData name="van Leeuwen  Sara (VPPL)" userId="7a5f1df4-0dd0-4c9e-a72f-a035cf318af6" providerId="ADAL" clId="{AAA37DE2-93D3-44F8-BE87-C19EC6771CD3}" dt="2023-09-21T09:26:35.516" v="17238" actId="2696"/>
        <pc:sldMkLst>
          <pc:docMk/>
          <pc:sldMk cId="533780484" sldId="2445"/>
        </pc:sldMkLst>
        <pc:spChg chg="mod">
          <ac:chgData name="van Leeuwen  Sara (VPPL)" userId="7a5f1df4-0dd0-4c9e-a72f-a035cf318af6" providerId="ADAL" clId="{AAA37DE2-93D3-44F8-BE87-C19EC6771CD3}" dt="2023-09-21T08:01:08.015" v="14725" actId="948"/>
          <ac:spMkLst>
            <pc:docMk/>
            <pc:sldMk cId="533780484" sldId="2445"/>
            <ac:spMk id="2" creationId="{00000000-0000-0000-0000-000000000000}"/>
          </ac:spMkLst>
        </pc:spChg>
        <pc:spChg chg="mod">
          <ac:chgData name="van Leeuwen  Sara (VPPL)" userId="7a5f1df4-0dd0-4c9e-a72f-a035cf318af6" providerId="ADAL" clId="{AAA37DE2-93D3-44F8-BE87-C19EC6771CD3}" dt="2023-09-21T09:13:28.583" v="17080" actId="33524"/>
          <ac:spMkLst>
            <pc:docMk/>
            <pc:sldMk cId="533780484" sldId="2445"/>
            <ac:spMk id="3" creationId="{00000000-0000-0000-0000-000000000000}"/>
          </ac:spMkLst>
        </pc:spChg>
        <pc:spChg chg="mod">
          <ac:chgData name="van Leeuwen  Sara (VPPL)" userId="7a5f1df4-0dd0-4c9e-a72f-a035cf318af6" providerId="ADAL" clId="{AAA37DE2-93D3-44F8-BE87-C19EC6771CD3}" dt="2023-09-21T07:58:43.339" v="4126" actId="947"/>
          <ac:spMkLst>
            <pc:docMk/>
            <pc:sldMk cId="533780484" sldId="2445"/>
            <ac:spMk id="4" creationId="{00000000-0000-0000-0000-000000000000}"/>
          </ac:spMkLst>
        </pc:spChg>
        <pc:spChg chg="mod">
          <ac:chgData name="van Leeuwen  Sara (VPPL)" userId="7a5f1df4-0dd0-4c9e-a72f-a035cf318af6" providerId="ADAL" clId="{AAA37DE2-93D3-44F8-BE87-C19EC6771CD3}" dt="2023-09-21T07:58:43.349" v="4132" actId="947"/>
          <ac:spMkLst>
            <pc:docMk/>
            <pc:sldMk cId="533780484" sldId="2445"/>
            <ac:spMk id="5" creationId="{C4E4176B-2361-477E-A786-7B1E08DDED95}"/>
          </ac:spMkLst>
        </pc:spChg>
        <pc:spChg chg="mod">
          <ac:chgData name="van Leeuwen  Sara (VPPL)" userId="7a5f1df4-0dd0-4c9e-a72f-a035cf318af6" providerId="ADAL" clId="{AAA37DE2-93D3-44F8-BE87-C19EC6771CD3}" dt="2023-09-21T07:58:43.349" v="4130" actId="947"/>
          <ac:spMkLst>
            <pc:docMk/>
            <pc:sldMk cId="533780484" sldId="2445"/>
            <ac:spMk id="6" creationId="{00000000-0000-0000-0000-000000000000}"/>
          </ac:spMkLst>
        </pc:spChg>
        <pc:spChg chg="add del mod modVis">
          <ac:chgData name="van Leeuwen  Sara (VPPL)" userId="7a5f1df4-0dd0-4c9e-a72f-a035cf318af6" providerId="ADAL" clId="{AAA37DE2-93D3-44F8-BE87-C19EC6771CD3}" dt="2023-09-21T08:01:08.141" v="15306" actId="478"/>
          <ac:spMkLst>
            <pc:docMk/>
            <pc:sldMk cId="533780484" sldId="2445"/>
            <ac:spMk id="7" creationId="{57244837-1E49-1269-AECA-96A620282190}"/>
          </ac:spMkLst>
        </pc:spChg>
        <pc:spChg chg="mod">
          <ac:chgData name="van Leeuwen  Sara (VPPL)" userId="7a5f1df4-0dd0-4c9e-a72f-a035cf318af6" providerId="ADAL" clId="{AAA37DE2-93D3-44F8-BE87-C19EC6771CD3}" dt="2023-09-21T08:01:07.244" v="11945" actId="790"/>
          <ac:spMkLst>
            <pc:docMk/>
            <pc:sldMk cId="533780484" sldId="2445"/>
            <ac:spMk id="8" creationId="{D75AFB06-C0D5-C44A-AFA0-9276A7192873}"/>
          </ac:spMkLst>
        </pc:spChg>
        <pc:graphicFrameChg chg="mod">
          <ac:chgData name="van Leeuwen  Sara (VPPL)" userId="7a5f1df4-0dd0-4c9e-a72f-a035cf318af6" providerId="ADAL" clId="{AAA37DE2-93D3-44F8-BE87-C19EC6771CD3}" dt="2023-09-21T09:10:57.347" v="17074"/>
          <ac:graphicFrameMkLst>
            <pc:docMk/>
            <pc:sldMk cId="533780484" sldId="2445"/>
            <ac:graphicFrameMk id="9" creationId="{6330197E-17A9-F408-EFC3-A8EBC43E8B0A}"/>
          </ac:graphicFrameMkLst>
        </pc:graphicFrameChg>
      </pc:sldChg>
      <pc:sldChg chg="add">
        <pc:chgData name="van Leeuwen  Sara (VPPL)" userId="7a5f1df4-0dd0-4c9e-a72f-a035cf318af6" providerId="ADAL" clId="{AAA37DE2-93D3-44F8-BE87-C19EC6771CD3}" dt="2023-09-21T09:26:40.301" v="17239"/>
        <pc:sldMkLst>
          <pc:docMk/>
          <pc:sldMk cId="687061124" sldId="2445"/>
        </pc:sldMkLst>
      </pc:sldChg>
      <pc:sldChg chg="addSp delSp modSp new add mod modNotes">
        <pc:chgData name="van Leeuwen  Sara (VPPL)" userId="7a5f1df4-0dd0-4c9e-a72f-a035cf318af6" providerId="ADAL" clId="{AAA37DE2-93D3-44F8-BE87-C19EC6771CD3}" dt="2023-09-21T08:01:08.392" v="15462"/>
        <pc:sldMkLst>
          <pc:docMk/>
          <pc:sldMk cId="645604469" sldId="2446"/>
        </pc:sldMkLst>
        <pc:spChg chg="del">
          <ac:chgData name="van Leeuwen  Sara (VPPL)" userId="7a5f1df4-0dd0-4c9e-a72f-a035cf318af6" providerId="ADAL" clId="{AAA37DE2-93D3-44F8-BE87-C19EC6771CD3}" dt="2023-09-20T13:34:09.081" v="1682" actId="478"/>
          <ac:spMkLst>
            <pc:docMk/>
            <pc:sldMk cId="645604469" sldId="2446"/>
            <ac:spMk id="2" creationId="{1EBC14BD-F2A2-DE8D-FF8C-2DC37B66F64A}"/>
          </ac:spMkLst>
        </pc:spChg>
        <pc:spChg chg="mod">
          <ac:chgData name="van Leeuwen  Sara (VPPL)" userId="7a5f1df4-0dd0-4c9e-a72f-a035cf318af6" providerId="ADAL" clId="{AAA37DE2-93D3-44F8-BE87-C19EC6771CD3}" dt="2023-09-21T08:01:07.354" v="12415" actId="790"/>
          <ac:spMkLst>
            <pc:docMk/>
            <pc:sldMk cId="645604469" sldId="2446"/>
            <ac:spMk id="3" creationId="{CD164694-0894-5683-F43E-332E0F82F468}"/>
          </ac:spMkLst>
        </pc:spChg>
        <pc:spChg chg="mod">
          <ac:chgData name="van Leeuwen  Sara (VPPL)" userId="7a5f1df4-0dd0-4c9e-a72f-a035cf318af6" providerId="ADAL" clId="{AAA37DE2-93D3-44F8-BE87-C19EC6771CD3}" dt="2023-09-21T07:58:43.776" v="4600" actId="947"/>
          <ac:spMkLst>
            <pc:docMk/>
            <pc:sldMk cId="645604469" sldId="2446"/>
            <ac:spMk id="4" creationId="{503B1E74-5023-4D15-B036-C90C46C67203}"/>
          </ac:spMkLst>
        </pc:spChg>
        <pc:spChg chg="mod">
          <ac:chgData name="van Leeuwen  Sara (VPPL)" userId="7a5f1df4-0dd0-4c9e-a72f-a035cf318af6" providerId="ADAL" clId="{AAA37DE2-93D3-44F8-BE87-C19EC6771CD3}" dt="2023-09-21T08:01:07.354" v="12419" actId="790"/>
          <ac:spMkLst>
            <pc:docMk/>
            <pc:sldMk cId="645604469" sldId="2446"/>
            <ac:spMk id="5" creationId="{985DE3C5-74AD-C105-2AAE-E8BA874F5D40}"/>
          </ac:spMkLst>
        </pc:spChg>
        <pc:spChg chg="mod">
          <ac:chgData name="van Leeuwen  Sara (VPPL)" userId="7a5f1df4-0dd0-4c9e-a72f-a035cf318af6" providerId="ADAL" clId="{AAA37DE2-93D3-44F8-BE87-C19EC6771CD3}" dt="2023-09-21T07:58:43.776" v="4604" actId="947"/>
          <ac:spMkLst>
            <pc:docMk/>
            <pc:sldMk cId="645604469" sldId="2446"/>
            <ac:spMk id="6" creationId="{E5170B01-4FDA-7FC8-A45E-4C6ED2C6E843}"/>
          </ac:spMkLst>
        </pc:spChg>
        <pc:graphicFrameChg chg="add mod ord modVis replST">
          <ac:chgData name="van Leeuwen  Sara (VPPL)" userId="7a5f1df4-0dd0-4c9e-a72f-a035cf318af6" providerId="ADAL" clId="{AAA37DE2-93D3-44F8-BE87-C19EC6771CD3}" dt="2023-09-21T08:01:08.392" v="15462"/>
          <ac:graphicFrameMkLst>
            <pc:docMk/>
            <pc:sldMk cId="645604469" sldId="2446"/>
            <ac:graphicFrameMk id="7" creationId="{27DFCCEE-8338-B7E3-4737-914D17E02297}"/>
          </ac:graphicFrameMkLst>
        </pc:graphicFrameChg>
        <pc:picChg chg="add mod">
          <ac:chgData name="van Leeuwen  Sara (VPPL)" userId="7a5f1df4-0dd0-4c9e-a72f-a035cf318af6" providerId="ADAL" clId="{AAA37DE2-93D3-44F8-BE87-C19EC6771CD3}" dt="2023-09-20T13:37:42.421" v="1734" actId="1076"/>
          <ac:picMkLst>
            <pc:docMk/>
            <pc:sldMk cId="645604469" sldId="2446"/>
            <ac:picMk id="8" creationId="{B0E83C3F-F117-A442-BB56-10B4AA6B60B9}"/>
          </ac:picMkLst>
        </pc:picChg>
        <pc:picChg chg="add mod">
          <ac:chgData name="van Leeuwen  Sara (VPPL)" userId="7a5f1df4-0dd0-4c9e-a72f-a035cf318af6" providerId="ADAL" clId="{AAA37DE2-93D3-44F8-BE87-C19EC6771CD3}" dt="2023-09-20T13:37:39.816" v="1733" actId="1076"/>
          <ac:picMkLst>
            <pc:docMk/>
            <pc:sldMk cId="645604469" sldId="2446"/>
            <ac:picMk id="9" creationId="{28D595F2-B342-6C4E-C5AB-A9D1931F70B5}"/>
          </ac:picMkLst>
        </pc:picChg>
        <pc:picChg chg="add mod">
          <ac:chgData name="van Leeuwen  Sara (VPPL)" userId="7a5f1df4-0dd0-4c9e-a72f-a035cf318af6" providerId="ADAL" clId="{AAA37DE2-93D3-44F8-BE87-C19EC6771CD3}" dt="2023-09-20T13:37:36.113" v="1731" actId="1076"/>
          <ac:picMkLst>
            <pc:docMk/>
            <pc:sldMk cId="645604469" sldId="2446"/>
            <ac:picMk id="10" creationId="{8FDE1D01-1031-955B-7856-DDEAB04EDE5C}"/>
          </ac:picMkLst>
        </pc:picChg>
        <pc:picChg chg="add mod">
          <ac:chgData name="van Leeuwen  Sara (VPPL)" userId="7a5f1df4-0dd0-4c9e-a72f-a035cf318af6" providerId="ADAL" clId="{AAA37DE2-93D3-44F8-BE87-C19EC6771CD3}" dt="2023-09-20T13:37:38.177" v="1732" actId="1076"/>
          <ac:picMkLst>
            <pc:docMk/>
            <pc:sldMk cId="645604469" sldId="2446"/>
            <ac:picMk id="11" creationId="{933878ED-61B2-D6A9-78BA-375B6BCF4451}"/>
          </ac:picMkLst>
        </pc:picChg>
        <pc:picChg chg="add del mod">
          <ac:chgData name="van Leeuwen  Sara (VPPL)" userId="7a5f1df4-0dd0-4c9e-a72f-a035cf318af6" providerId="ADAL" clId="{AAA37DE2-93D3-44F8-BE87-C19EC6771CD3}" dt="2023-09-20T13:35:50.421" v="1711" actId="478"/>
          <ac:picMkLst>
            <pc:docMk/>
            <pc:sldMk cId="645604469" sldId="2446"/>
            <ac:picMk id="12" creationId="{8106B667-A04D-908E-F3BB-ACC0AFE11DB5}"/>
          </ac:picMkLst>
        </pc:picChg>
      </pc:sldChg>
      <pc:sldChg chg="addSp delSp modSp add mod modNotes">
        <pc:chgData name="van Leeuwen  Sara (VPPL)" userId="7a5f1df4-0dd0-4c9e-a72f-a035cf318af6" providerId="ADAL" clId="{AAA37DE2-93D3-44F8-BE87-C19EC6771CD3}" dt="2023-09-21T09:29:33.711" v="17413" actId="20577"/>
        <pc:sldMkLst>
          <pc:docMk/>
          <pc:sldMk cId="217941384" sldId="2447"/>
        </pc:sldMkLst>
        <pc:spChg chg="mod">
          <ac:chgData name="van Leeuwen  Sara (VPPL)" userId="7a5f1df4-0dd0-4c9e-a72f-a035cf318af6" providerId="ADAL" clId="{AAA37DE2-93D3-44F8-BE87-C19EC6771CD3}" dt="2023-09-21T08:01:08.093" v="15136" actId="948"/>
          <ac:spMkLst>
            <pc:docMk/>
            <pc:sldMk cId="217941384" sldId="2447"/>
            <ac:spMk id="2" creationId="{00000000-0000-0000-0000-000000000000}"/>
          </ac:spMkLst>
        </pc:spChg>
        <pc:spChg chg="mod">
          <ac:chgData name="van Leeuwen  Sara (VPPL)" userId="7a5f1df4-0dd0-4c9e-a72f-a035cf318af6" providerId="ADAL" clId="{AAA37DE2-93D3-44F8-BE87-C19EC6771CD3}" dt="2023-09-21T09:29:33.711" v="17413" actId="20577"/>
          <ac:spMkLst>
            <pc:docMk/>
            <pc:sldMk cId="217941384" sldId="2447"/>
            <ac:spMk id="3" creationId="{00000000-0000-0000-0000-000000000000}"/>
          </ac:spMkLst>
        </pc:spChg>
        <pc:spChg chg="mod">
          <ac:chgData name="van Leeuwen  Sara (VPPL)" userId="7a5f1df4-0dd0-4c9e-a72f-a035cf318af6" providerId="ADAL" clId="{AAA37DE2-93D3-44F8-BE87-C19EC6771CD3}" dt="2023-09-21T07:58:43.760" v="4590" actId="947"/>
          <ac:spMkLst>
            <pc:docMk/>
            <pc:sldMk cId="217941384" sldId="2447"/>
            <ac:spMk id="4" creationId="{00000000-0000-0000-0000-000000000000}"/>
          </ac:spMkLst>
        </pc:spChg>
        <pc:spChg chg="mod">
          <ac:chgData name="van Leeuwen  Sara (VPPL)" userId="7a5f1df4-0dd0-4c9e-a72f-a035cf318af6" providerId="ADAL" clId="{AAA37DE2-93D3-44F8-BE87-C19EC6771CD3}" dt="2023-09-21T07:58:43.760" v="4596" actId="947"/>
          <ac:spMkLst>
            <pc:docMk/>
            <pc:sldMk cId="217941384" sldId="2447"/>
            <ac:spMk id="5" creationId="{C4E4176B-2361-477E-A786-7B1E08DDED95}"/>
          </ac:spMkLst>
        </pc:spChg>
        <pc:spChg chg="mod">
          <ac:chgData name="van Leeuwen  Sara (VPPL)" userId="7a5f1df4-0dd0-4c9e-a72f-a035cf318af6" providerId="ADAL" clId="{AAA37DE2-93D3-44F8-BE87-C19EC6771CD3}" dt="2023-09-21T07:58:43.760" v="4594" actId="947"/>
          <ac:spMkLst>
            <pc:docMk/>
            <pc:sldMk cId="217941384" sldId="2447"/>
            <ac:spMk id="6" creationId="{00000000-0000-0000-0000-000000000000}"/>
          </ac:spMkLst>
        </pc:spChg>
        <pc:spChg chg="add del mod modVis">
          <ac:chgData name="van Leeuwen  Sara (VPPL)" userId="7a5f1df4-0dd0-4c9e-a72f-a035cf318af6" providerId="ADAL" clId="{AAA37DE2-93D3-44F8-BE87-C19EC6771CD3}" dt="2023-09-20T13:57:43.046" v="2407"/>
          <ac:spMkLst>
            <pc:docMk/>
            <pc:sldMk cId="217941384" sldId="2447"/>
            <ac:spMk id="7" creationId="{0B454FD6-DA1E-EC59-E9F8-AC688E23D14F}"/>
          </ac:spMkLst>
        </pc:spChg>
        <pc:spChg chg="add del mod modVis">
          <ac:chgData name="van Leeuwen  Sara (VPPL)" userId="7a5f1df4-0dd0-4c9e-a72f-a035cf318af6" providerId="ADAL" clId="{AAA37DE2-93D3-44F8-BE87-C19EC6771CD3}" dt="2023-09-21T08:01:08.141" v="15329" actId="478"/>
          <ac:spMkLst>
            <pc:docMk/>
            <pc:sldMk cId="217941384" sldId="2447"/>
            <ac:spMk id="7" creationId="{1896D4E0-3CC8-9550-3BF8-D5E7E5E76181}"/>
          </ac:spMkLst>
        </pc:spChg>
        <pc:spChg chg="mod">
          <ac:chgData name="van Leeuwen  Sara (VPPL)" userId="7a5f1df4-0dd0-4c9e-a72f-a035cf318af6" providerId="ADAL" clId="{AAA37DE2-93D3-44F8-BE87-C19EC6771CD3}" dt="2023-09-21T08:01:07.338" v="12409" actId="790"/>
          <ac:spMkLst>
            <pc:docMk/>
            <pc:sldMk cId="217941384" sldId="2447"/>
            <ac:spMk id="8" creationId="{D75AFB06-C0D5-C44A-AFA0-9276A7192873}"/>
          </ac:spMkLst>
        </pc:spChg>
        <pc:spChg chg="add del mod modVis">
          <ac:chgData name="van Leeuwen  Sara (VPPL)" userId="7a5f1df4-0dd0-4c9e-a72f-a035cf318af6" providerId="ADAL" clId="{AAA37DE2-93D3-44F8-BE87-C19EC6771CD3}" dt="2023-09-20T13:57:45.978" v="2467"/>
          <ac:spMkLst>
            <pc:docMk/>
            <pc:sldMk cId="217941384" sldId="2447"/>
            <ac:spMk id="10" creationId="{62E8D215-B500-6668-4658-1A06F5BDB3D6}"/>
          </ac:spMkLst>
        </pc:spChg>
        <pc:spChg chg="add del mod modVis">
          <ac:chgData name="van Leeuwen  Sara (VPPL)" userId="7a5f1df4-0dd0-4c9e-a72f-a035cf318af6" providerId="ADAL" clId="{AAA37DE2-93D3-44F8-BE87-C19EC6771CD3}" dt="2023-09-20T13:57:47.900" v="2514"/>
          <ac:spMkLst>
            <pc:docMk/>
            <pc:sldMk cId="217941384" sldId="2447"/>
            <ac:spMk id="11" creationId="{DBE6B13A-04C8-2D66-0713-4B274633B35F}"/>
          </ac:spMkLst>
        </pc:spChg>
        <pc:spChg chg="add del mod modVis">
          <ac:chgData name="van Leeuwen  Sara (VPPL)" userId="7a5f1df4-0dd0-4c9e-a72f-a035cf318af6" providerId="ADAL" clId="{AAA37DE2-93D3-44F8-BE87-C19EC6771CD3}" dt="2023-09-20T13:57:49.065" v="2561"/>
          <ac:spMkLst>
            <pc:docMk/>
            <pc:sldMk cId="217941384" sldId="2447"/>
            <ac:spMk id="12" creationId="{C4F41D47-1978-FE2A-3B46-97F4F36D127B}"/>
          </ac:spMkLst>
        </pc:spChg>
        <pc:spChg chg="add del mod modVis">
          <ac:chgData name="van Leeuwen  Sara (VPPL)" userId="7a5f1df4-0dd0-4c9e-a72f-a035cf318af6" providerId="ADAL" clId="{AAA37DE2-93D3-44F8-BE87-C19EC6771CD3}" dt="2023-09-20T13:57:53.206" v="2607"/>
          <ac:spMkLst>
            <pc:docMk/>
            <pc:sldMk cId="217941384" sldId="2447"/>
            <ac:spMk id="13" creationId="{57CCE6E4-1E13-9D43-5FE1-088EC4028117}"/>
          </ac:spMkLst>
        </pc:spChg>
        <pc:spChg chg="add del mod modVis">
          <ac:chgData name="van Leeuwen  Sara (VPPL)" userId="7a5f1df4-0dd0-4c9e-a72f-a035cf318af6" providerId="ADAL" clId="{AAA37DE2-93D3-44F8-BE87-C19EC6771CD3}" dt="2023-09-20T13:57:55.395" v="2660"/>
          <ac:spMkLst>
            <pc:docMk/>
            <pc:sldMk cId="217941384" sldId="2447"/>
            <ac:spMk id="14" creationId="{644BB8BD-A996-218E-FFEE-9815DAD8BC1C}"/>
          </ac:spMkLst>
        </pc:spChg>
        <pc:spChg chg="add del mod modVis">
          <ac:chgData name="van Leeuwen  Sara (VPPL)" userId="7a5f1df4-0dd0-4c9e-a72f-a035cf318af6" providerId="ADAL" clId="{AAA37DE2-93D3-44F8-BE87-C19EC6771CD3}" dt="2023-09-20T13:57:58.746" v="2706"/>
          <ac:spMkLst>
            <pc:docMk/>
            <pc:sldMk cId="217941384" sldId="2447"/>
            <ac:spMk id="15" creationId="{3BF707F8-0EE5-04A9-79A1-54DB8D264DFD}"/>
          </ac:spMkLst>
        </pc:spChg>
        <pc:spChg chg="add del mod modVis">
          <ac:chgData name="van Leeuwen  Sara (VPPL)" userId="7a5f1df4-0dd0-4c9e-a72f-a035cf318af6" providerId="ADAL" clId="{AAA37DE2-93D3-44F8-BE87-C19EC6771CD3}" dt="2023-09-20T13:58:01.170" v="2765"/>
          <ac:spMkLst>
            <pc:docMk/>
            <pc:sldMk cId="217941384" sldId="2447"/>
            <ac:spMk id="16" creationId="{333404E5-EC16-090C-A044-F917FBCC9726}"/>
          </ac:spMkLst>
        </pc:spChg>
        <pc:spChg chg="add del mod modVis">
          <ac:chgData name="van Leeuwen  Sara (VPPL)" userId="7a5f1df4-0dd0-4c9e-a72f-a035cf318af6" providerId="ADAL" clId="{AAA37DE2-93D3-44F8-BE87-C19EC6771CD3}" dt="2023-09-20T13:58:02.903" v="2816"/>
          <ac:spMkLst>
            <pc:docMk/>
            <pc:sldMk cId="217941384" sldId="2447"/>
            <ac:spMk id="17" creationId="{BB559269-C731-FB9C-BDA2-C89E7B70F237}"/>
          </ac:spMkLst>
        </pc:spChg>
        <pc:graphicFrameChg chg="mod">
          <ac:chgData name="van Leeuwen  Sara (VPPL)" userId="7a5f1df4-0dd0-4c9e-a72f-a035cf318af6" providerId="ADAL" clId="{AAA37DE2-93D3-44F8-BE87-C19EC6771CD3}" dt="2023-09-21T08:01:08.392" v="15460"/>
          <ac:graphicFrameMkLst>
            <pc:docMk/>
            <pc:sldMk cId="217941384" sldId="2447"/>
            <ac:graphicFrameMk id="9" creationId="{790F68F1-68CA-ADEE-CF64-C1974CB68317}"/>
          </ac:graphicFrameMkLst>
        </pc:graphicFrameChg>
      </pc:sldChg>
      <pc:sldChg chg="addSp delSp modSp add mod">
        <pc:chgData name="van Leeuwen  Sara (VPPL)" userId="7a5f1df4-0dd0-4c9e-a72f-a035cf318af6" providerId="ADAL" clId="{AAA37DE2-93D3-44F8-BE87-C19EC6771CD3}" dt="2023-09-21T09:12:04.280" v="17079" actId="20577"/>
        <pc:sldMkLst>
          <pc:docMk/>
          <pc:sldMk cId="1765676676" sldId="2448"/>
        </pc:sldMkLst>
        <pc:spChg chg="mod">
          <ac:chgData name="van Leeuwen  Sara (VPPL)" userId="7a5f1df4-0dd0-4c9e-a72f-a035cf318af6" providerId="ADAL" clId="{AAA37DE2-93D3-44F8-BE87-C19EC6771CD3}" dt="2023-09-21T08:21:33.043" v="15953" actId="948"/>
          <ac:spMkLst>
            <pc:docMk/>
            <pc:sldMk cId="1765676676" sldId="2448"/>
            <ac:spMk id="2" creationId="{C2543CB6-7CCE-4092-94E2-1F9AF86C92CD}"/>
          </ac:spMkLst>
        </pc:spChg>
        <pc:spChg chg="mod">
          <ac:chgData name="van Leeuwen  Sara (VPPL)" userId="7a5f1df4-0dd0-4c9e-a72f-a035cf318af6" providerId="ADAL" clId="{AAA37DE2-93D3-44F8-BE87-C19EC6771CD3}" dt="2023-09-21T09:12:04.280" v="17079" actId="20577"/>
          <ac:spMkLst>
            <pc:docMk/>
            <pc:sldMk cId="1765676676" sldId="2448"/>
            <ac:spMk id="3" creationId="{E9BBD3EE-C606-408E-8853-A8E4F45E02CE}"/>
          </ac:spMkLst>
        </pc:spChg>
        <pc:spChg chg="add del mod modVis">
          <ac:chgData name="van Leeuwen  Sara (VPPL)" userId="7a5f1df4-0dd0-4c9e-a72f-a035cf318af6" providerId="ADAL" clId="{AAA37DE2-93D3-44F8-BE87-C19EC6771CD3}" dt="2023-09-21T08:17:22.746" v="15778"/>
          <ac:spMkLst>
            <pc:docMk/>
            <pc:sldMk cId="1765676676" sldId="2448"/>
            <ac:spMk id="8" creationId="{6EDA4DF8-094C-DBD3-17D6-3C2889F9CC52}"/>
          </ac:spMkLst>
        </pc:spChg>
        <pc:spChg chg="add del mod modVis">
          <ac:chgData name="van Leeuwen  Sara (VPPL)" userId="7a5f1df4-0dd0-4c9e-a72f-a035cf318af6" providerId="ADAL" clId="{AAA37DE2-93D3-44F8-BE87-C19EC6771CD3}" dt="2023-09-21T08:17:23.045" v="15823"/>
          <ac:spMkLst>
            <pc:docMk/>
            <pc:sldMk cId="1765676676" sldId="2448"/>
            <ac:spMk id="10" creationId="{FB160156-348C-76AB-5FB1-569D86CAD525}"/>
          </ac:spMkLst>
        </pc:spChg>
        <pc:spChg chg="add del mod modVis">
          <ac:chgData name="van Leeuwen  Sara (VPPL)" userId="7a5f1df4-0dd0-4c9e-a72f-a035cf318af6" providerId="ADAL" clId="{AAA37DE2-93D3-44F8-BE87-C19EC6771CD3}" dt="2023-09-21T08:17:24.444" v="15870"/>
          <ac:spMkLst>
            <pc:docMk/>
            <pc:sldMk cId="1765676676" sldId="2448"/>
            <ac:spMk id="11" creationId="{0FADEA86-2F96-93D1-5990-C04D823564CC}"/>
          </ac:spMkLst>
        </pc:spChg>
        <pc:spChg chg="add del mod modVis">
          <ac:chgData name="van Leeuwen  Sara (VPPL)" userId="7a5f1df4-0dd0-4c9e-a72f-a035cf318af6" providerId="ADAL" clId="{AAA37DE2-93D3-44F8-BE87-C19EC6771CD3}" dt="2023-09-21T08:21:19.624" v="15943"/>
          <ac:spMkLst>
            <pc:docMk/>
            <pc:sldMk cId="1765676676" sldId="2448"/>
            <ac:spMk id="12" creationId="{D3C38F3A-FB13-F26F-D931-0021EC218E71}"/>
          </ac:spMkLst>
        </pc:spChg>
        <pc:spChg chg="add del mod modVis">
          <ac:chgData name="van Leeuwen  Sara (VPPL)" userId="7a5f1df4-0dd0-4c9e-a72f-a035cf318af6" providerId="ADAL" clId="{AAA37DE2-93D3-44F8-BE87-C19EC6771CD3}" dt="2023-09-21T08:21:33.074" v="15994"/>
          <ac:spMkLst>
            <pc:docMk/>
            <pc:sldMk cId="1765676676" sldId="2448"/>
            <ac:spMk id="13" creationId="{077F68B1-2876-9215-B80D-742F17B338AD}"/>
          </ac:spMkLst>
        </pc:spChg>
        <pc:graphicFrameChg chg="mod">
          <ac:chgData name="van Leeuwen  Sara (VPPL)" userId="7a5f1df4-0dd0-4c9e-a72f-a035cf318af6" providerId="ADAL" clId="{AAA37DE2-93D3-44F8-BE87-C19EC6771CD3}" dt="2023-09-21T08:21:33.074" v="15996"/>
          <ac:graphicFrameMkLst>
            <pc:docMk/>
            <pc:sldMk cId="1765676676" sldId="2448"/>
            <ac:graphicFrameMk id="9" creationId="{5FC14056-3291-216C-B428-AFA1A2516319}"/>
          </ac:graphicFrameMkLst>
        </pc:graphicFrameChg>
      </pc:sldChg>
      <pc:sldMasterChg chg="addSp delSp modSp mod modSldLayout">
        <pc:chgData name="van Leeuwen  Sara (VPPL)" userId="7a5f1df4-0dd0-4c9e-a72f-a035cf318af6" providerId="ADAL" clId="{AAA37DE2-93D3-44F8-BE87-C19EC6771CD3}" dt="2023-09-21T08:01:08.282" v="15400"/>
        <pc:sldMasterMkLst>
          <pc:docMk/>
          <pc:sldMasterMk cId="409606273" sldId="2147483648"/>
        </pc:sldMasterMkLst>
        <pc:spChg chg="mod">
          <ac:chgData name="van Leeuwen  Sara (VPPL)" userId="7a5f1df4-0dd0-4c9e-a72f-a035cf318af6" providerId="ADAL" clId="{AAA37DE2-93D3-44F8-BE87-C19EC6771CD3}" dt="2023-09-21T08:01:07.653" v="13507" actId="948"/>
          <ac:spMkLst>
            <pc:docMk/>
            <pc:sldMasterMk cId="409606273" sldId="2147483648"/>
            <ac:spMk id="2" creationId="{29CEF804-E58C-481B-A606-7D35AF68FF55}"/>
          </ac:spMkLst>
        </pc:spChg>
        <pc:spChg chg="mod">
          <ac:chgData name="van Leeuwen  Sara (VPPL)" userId="7a5f1df4-0dd0-4c9e-a72f-a035cf318af6" providerId="ADAL" clId="{AAA37DE2-93D3-44F8-BE87-C19EC6771CD3}" dt="2023-09-21T07:58:43.940" v="4758" actId="790"/>
          <ac:spMkLst>
            <pc:docMk/>
            <pc:sldMasterMk cId="409606273" sldId="2147483648"/>
            <ac:spMk id="3" creationId="{65C6EC0D-393C-42F2-B6A7-B19C9B098F2D}"/>
          </ac:spMkLst>
        </pc:spChg>
        <pc:spChg chg="mod">
          <ac:chgData name="van Leeuwen  Sara (VPPL)" userId="7a5f1df4-0dd0-4c9e-a72f-a035cf318af6" providerId="ADAL" clId="{AAA37DE2-93D3-44F8-BE87-C19EC6771CD3}" dt="2023-09-21T07:58:43.950" v="4759" actId="790"/>
          <ac:spMkLst>
            <pc:docMk/>
            <pc:sldMasterMk cId="409606273" sldId="2147483648"/>
            <ac:spMk id="4" creationId="{37C96E51-36C9-4BEE-A761-33378A0DF03D}"/>
          </ac:spMkLst>
        </pc:spChg>
        <pc:spChg chg="mod">
          <ac:chgData name="van Leeuwen  Sara (VPPL)" userId="7a5f1df4-0dd0-4c9e-a72f-a035cf318af6" providerId="ADAL" clId="{AAA37DE2-93D3-44F8-BE87-C19EC6771CD3}" dt="2023-09-21T08:01:07.385" v="12578" actId="790"/>
          <ac:spMkLst>
            <pc:docMk/>
            <pc:sldMasterMk cId="409606273" sldId="2147483648"/>
            <ac:spMk id="5" creationId="{411EC403-6E63-4450-AFDD-66CA49D6CCBE}"/>
          </ac:spMkLst>
        </pc:spChg>
        <pc:spChg chg="mod">
          <ac:chgData name="van Leeuwen  Sara (VPPL)" userId="7a5f1df4-0dd0-4c9e-a72f-a035cf318af6" providerId="ADAL" clId="{AAA37DE2-93D3-44F8-BE87-C19EC6771CD3}" dt="2023-09-21T07:58:43.950" v="4761" actId="790"/>
          <ac:spMkLst>
            <pc:docMk/>
            <pc:sldMasterMk cId="409606273" sldId="2147483648"/>
            <ac:spMk id="6" creationId="{7FDFCC57-7DDC-4B2C-A6BE-862DAF9C9F11}"/>
          </ac:spMkLst>
        </pc:spChg>
        <pc:spChg chg="add del mod modVis">
          <ac:chgData name="van Leeuwen  Sara (VPPL)" userId="7a5f1df4-0dd0-4c9e-a72f-a035cf318af6" providerId="ADAL" clId="{AAA37DE2-93D3-44F8-BE87-C19EC6771CD3}" dt="2023-09-21T08:01:08.115" v="15235" actId="478"/>
          <ac:spMkLst>
            <pc:docMk/>
            <pc:sldMasterMk cId="409606273" sldId="2147483648"/>
            <ac:spMk id="7" creationId="{A3200486-EBDE-9AD4-43E2-586CC2006ACE}"/>
          </ac:spMkLst>
        </pc:spChg>
        <pc:graphicFrameChg chg="mod">
          <ac:chgData name="van Leeuwen  Sara (VPPL)" userId="7a5f1df4-0dd0-4c9e-a72f-a035cf318af6" providerId="ADAL" clId="{AAA37DE2-93D3-44F8-BE87-C19EC6771CD3}" dt="2023-09-21T08:01:08.156" v="15336"/>
          <ac:graphicFrameMkLst>
            <pc:docMk/>
            <pc:sldMasterMk cId="409606273" sldId="2147483648"/>
            <ac:graphicFrameMk id="8" creationId="{6F709FE4-B19A-40E5-B994-8FBD3E2929F5}"/>
          </ac:graphicFrameMkLst>
        </pc:graphicFrameChg>
        <pc:sldLayoutChg chg="addSp delSp modSp mod">
          <pc:chgData name="van Leeuwen  Sara (VPPL)" userId="7a5f1df4-0dd0-4c9e-a72f-a035cf318af6" providerId="ADAL" clId="{AAA37DE2-93D3-44F8-BE87-C19EC6771CD3}" dt="2023-09-21T08:01:08.203" v="15362"/>
          <pc:sldLayoutMkLst>
            <pc:docMk/>
            <pc:sldMasterMk cId="409606273" sldId="2147483648"/>
            <pc:sldLayoutMk cId="4293381049" sldId="2147483649"/>
          </pc:sldLayoutMkLst>
          <pc:spChg chg="mod">
            <ac:chgData name="van Leeuwen  Sara (VPPL)" userId="7a5f1df4-0dd0-4c9e-a72f-a035cf318af6" providerId="ADAL" clId="{AAA37DE2-93D3-44F8-BE87-C19EC6771CD3}" dt="2023-09-21T08:01:07.669" v="13543" actId="948"/>
            <ac:spMkLst>
              <pc:docMk/>
              <pc:sldMasterMk cId="409606273" sldId="2147483648"/>
              <pc:sldLayoutMk cId="4293381049" sldId="2147483649"/>
              <ac:spMk id="2" creationId="{3491294E-BEE7-4DA8-BBC8-88E1A7B07AEF}"/>
            </ac:spMkLst>
          </pc:spChg>
          <pc:spChg chg="add del mod modVis">
            <ac:chgData name="van Leeuwen  Sara (VPPL)" userId="7a5f1df4-0dd0-4c9e-a72f-a035cf318af6" providerId="ADAL" clId="{AAA37DE2-93D3-44F8-BE87-C19EC6771CD3}" dt="2023-09-21T08:01:08.115" v="15237" actId="478"/>
            <ac:spMkLst>
              <pc:docMk/>
              <pc:sldMasterMk cId="409606273" sldId="2147483648"/>
              <pc:sldLayoutMk cId="4293381049" sldId="2147483649"/>
              <ac:spMk id="3" creationId="{0800E9A0-9746-55BA-D55E-8C2AF14777C8}"/>
            </ac:spMkLst>
          </pc:spChg>
          <pc:spChg chg="mod">
            <ac:chgData name="van Leeuwen  Sara (VPPL)" userId="7a5f1df4-0dd0-4c9e-a72f-a035cf318af6" providerId="ADAL" clId="{AAA37DE2-93D3-44F8-BE87-C19EC6771CD3}" dt="2023-09-21T07:58:43.966" v="4765" actId="790"/>
            <ac:spMkLst>
              <pc:docMk/>
              <pc:sldMasterMk cId="409606273" sldId="2147483648"/>
              <pc:sldLayoutMk cId="4293381049" sldId="2147483649"/>
              <ac:spMk id="4" creationId="{EE41BE31-9613-4103-99FF-7DCFF643B329}"/>
            </ac:spMkLst>
          </pc:spChg>
          <pc:spChg chg="mod">
            <ac:chgData name="van Leeuwen  Sara (VPPL)" userId="7a5f1df4-0dd0-4c9e-a72f-a035cf318af6" providerId="ADAL" clId="{AAA37DE2-93D3-44F8-BE87-C19EC6771CD3}" dt="2023-09-21T07:58:43.950" v="4762" actId="790"/>
            <ac:spMkLst>
              <pc:docMk/>
              <pc:sldMasterMk cId="409606273" sldId="2147483648"/>
              <pc:sldLayoutMk cId="4293381049" sldId="2147483649"/>
              <ac:spMk id="5" creationId="{EB061823-3F7A-48C8-8477-B410C18AC1B7}"/>
            </ac:spMkLst>
          </pc:spChg>
          <pc:spChg chg="mod">
            <ac:chgData name="van Leeuwen  Sara (VPPL)" userId="7a5f1df4-0dd0-4c9e-a72f-a035cf318af6" providerId="ADAL" clId="{AAA37DE2-93D3-44F8-BE87-C19EC6771CD3}" dt="2023-09-21T07:58:43.966" v="4766" actId="790"/>
            <ac:spMkLst>
              <pc:docMk/>
              <pc:sldMasterMk cId="409606273" sldId="2147483648"/>
              <pc:sldLayoutMk cId="4293381049" sldId="2147483649"/>
              <ac:spMk id="6" creationId="{EDEB298C-798E-4D73-9DD6-F896C06530C1}"/>
            </ac:spMkLst>
          </pc:spChg>
          <pc:spChg chg="mod">
            <ac:chgData name="van Leeuwen  Sara (VPPL)" userId="7a5f1df4-0dd0-4c9e-a72f-a035cf318af6" providerId="ADAL" clId="{AAA37DE2-93D3-44F8-BE87-C19EC6771CD3}" dt="2023-09-21T07:58:43.966" v="4764" actId="790"/>
            <ac:spMkLst>
              <pc:docMk/>
              <pc:sldMasterMk cId="409606273" sldId="2147483648"/>
              <pc:sldLayoutMk cId="4293381049" sldId="2147483649"/>
              <ac:spMk id="9" creationId="{C3C296D1-2CD0-479F-A866-6EC741D2293B}"/>
            </ac:spMkLst>
          </pc:spChg>
          <pc:graphicFrameChg chg="mod">
            <ac:chgData name="van Leeuwen  Sara (VPPL)" userId="7a5f1df4-0dd0-4c9e-a72f-a035cf318af6" providerId="ADAL" clId="{AAA37DE2-93D3-44F8-BE87-C19EC6771CD3}" dt="2023-09-21T08:01:08.203" v="15362"/>
            <ac:graphicFrameMkLst>
              <pc:docMk/>
              <pc:sldMasterMk cId="409606273" sldId="2147483648"/>
              <pc:sldLayoutMk cId="4293381049" sldId="2147483649"/>
              <ac:graphicFrameMk id="7" creationId="{F54F1400-795F-A074-DA62-57F93CA534FC}"/>
            </ac:graphicFrameMkLst>
          </pc:graphicFrameChg>
        </pc:sldLayoutChg>
        <pc:sldLayoutChg chg="addSp delSp modSp mod">
          <pc:chgData name="van Leeuwen  Sara (VPPL)" userId="7a5f1df4-0dd0-4c9e-a72f-a035cf318af6" providerId="ADAL" clId="{AAA37DE2-93D3-44F8-BE87-C19EC6771CD3}" dt="2023-09-21T08:01:08.219" v="15370"/>
          <pc:sldLayoutMkLst>
            <pc:docMk/>
            <pc:sldMasterMk cId="409606273" sldId="2147483648"/>
            <pc:sldLayoutMk cId="2221599722" sldId="2147483650"/>
          </pc:sldLayoutMkLst>
          <pc:spChg chg="mod">
            <ac:chgData name="van Leeuwen  Sara (VPPL)" userId="7a5f1df4-0dd0-4c9e-a72f-a035cf318af6" providerId="ADAL" clId="{AAA37DE2-93D3-44F8-BE87-C19EC6771CD3}" dt="2023-09-21T08:01:07.716" v="13687" actId="948"/>
            <ac:spMkLst>
              <pc:docMk/>
              <pc:sldMasterMk cId="409606273" sldId="2147483648"/>
              <pc:sldLayoutMk cId="2221599722" sldId="2147483650"/>
              <ac:spMk id="2" creationId="{3346F7F9-CBC8-4641-B12B-7E76FD213E12}"/>
            </ac:spMkLst>
          </pc:spChg>
          <pc:spChg chg="mod">
            <ac:chgData name="van Leeuwen  Sara (VPPL)" userId="7a5f1df4-0dd0-4c9e-a72f-a035cf318af6" providerId="ADAL" clId="{AAA37DE2-93D3-44F8-BE87-C19EC6771CD3}" dt="2023-09-21T07:58:44.040" v="4790" actId="790"/>
            <ac:spMkLst>
              <pc:docMk/>
              <pc:sldMasterMk cId="409606273" sldId="2147483648"/>
              <pc:sldLayoutMk cId="2221599722" sldId="2147483650"/>
              <ac:spMk id="3" creationId="{87D3E2EF-5F98-49EC-BCEA-B215D49920A3}"/>
            </ac:spMkLst>
          </pc:spChg>
          <pc:spChg chg="mod">
            <ac:chgData name="van Leeuwen  Sara (VPPL)" userId="7a5f1df4-0dd0-4c9e-a72f-a035cf318af6" providerId="ADAL" clId="{AAA37DE2-93D3-44F8-BE87-C19EC6771CD3}" dt="2023-09-21T07:58:44.040" v="4791" actId="790"/>
            <ac:spMkLst>
              <pc:docMk/>
              <pc:sldMasterMk cId="409606273" sldId="2147483648"/>
              <pc:sldLayoutMk cId="2221599722" sldId="2147483650"/>
              <ac:spMk id="4" creationId="{67DB21BA-81C0-43DB-A42C-5F672DBC37F2}"/>
            </ac:spMkLst>
          </pc:spChg>
          <pc:spChg chg="mod">
            <ac:chgData name="van Leeuwen  Sara (VPPL)" userId="7a5f1df4-0dd0-4c9e-a72f-a035cf318af6" providerId="ADAL" clId="{AAA37DE2-93D3-44F8-BE87-C19EC6771CD3}" dt="2023-09-21T08:01:07.401" v="12610" actId="790"/>
            <ac:spMkLst>
              <pc:docMk/>
              <pc:sldMasterMk cId="409606273" sldId="2147483648"/>
              <pc:sldLayoutMk cId="2221599722" sldId="2147483650"/>
              <ac:spMk id="5" creationId="{1BC78786-28C3-4EAB-A3FC-1A4BFA8447EC}"/>
            </ac:spMkLst>
          </pc:spChg>
          <pc:spChg chg="mod">
            <ac:chgData name="van Leeuwen  Sara (VPPL)" userId="7a5f1df4-0dd0-4c9e-a72f-a035cf318af6" providerId="ADAL" clId="{AAA37DE2-93D3-44F8-BE87-C19EC6771CD3}" dt="2023-09-21T07:58:44.045" v="4793" actId="790"/>
            <ac:spMkLst>
              <pc:docMk/>
              <pc:sldMasterMk cId="409606273" sldId="2147483648"/>
              <pc:sldLayoutMk cId="2221599722" sldId="2147483650"/>
              <ac:spMk id="6" creationId="{0FC1D5C1-A4AD-42D4-93B7-D3B71140E3A1}"/>
            </ac:spMkLst>
          </pc:spChg>
          <pc:spChg chg="add del mod modVis">
            <ac:chgData name="van Leeuwen  Sara (VPPL)" userId="7a5f1df4-0dd0-4c9e-a72f-a035cf318af6" providerId="ADAL" clId="{AAA37DE2-93D3-44F8-BE87-C19EC6771CD3}" dt="2023-09-21T08:01:08.115" v="15245" actId="478"/>
            <ac:spMkLst>
              <pc:docMk/>
              <pc:sldMasterMk cId="409606273" sldId="2147483648"/>
              <pc:sldLayoutMk cId="2221599722" sldId="2147483650"/>
              <ac:spMk id="8" creationId="{5BBF80FC-6A85-76F7-512B-9B80B4569347}"/>
            </ac:spMkLst>
          </pc:spChg>
          <pc:graphicFrameChg chg="mod">
            <ac:chgData name="van Leeuwen  Sara (VPPL)" userId="7a5f1df4-0dd0-4c9e-a72f-a035cf318af6" providerId="ADAL" clId="{AAA37DE2-93D3-44F8-BE87-C19EC6771CD3}" dt="2023-09-21T08:01:08.219" v="15370"/>
            <ac:graphicFrameMkLst>
              <pc:docMk/>
              <pc:sldMasterMk cId="409606273" sldId="2147483648"/>
              <pc:sldLayoutMk cId="2221599722" sldId="2147483650"/>
              <ac:graphicFrameMk id="9" creationId="{BF295A86-8B6C-B768-F750-85279E01609A}"/>
            </ac:graphicFrameMkLst>
          </pc:graphicFrameChg>
        </pc:sldLayoutChg>
        <pc:sldLayoutChg chg="addSp delSp modSp mod">
          <pc:chgData name="van Leeuwen  Sara (VPPL)" userId="7a5f1df4-0dd0-4c9e-a72f-a035cf318af6" providerId="ADAL" clId="{AAA37DE2-93D3-44F8-BE87-C19EC6771CD3}" dt="2023-09-21T08:01:08.215" v="15364"/>
          <pc:sldLayoutMkLst>
            <pc:docMk/>
            <pc:sldMasterMk cId="409606273" sldId="2147483648"/>
            <pc:sldLayoutMk cId="100241141" sldId="2147483651"/>
          </pc:sldLayoutMkLst>
          <pc:spChg chg="mod">
            <ac:chgData name="van Leeuwen  Sara (VPPL)" userId="7a5f1df4-0dd0-4c9e-a72f-a035cf318af6" providerId="ADAL" clId="{AAA37DE2-93D3-44F8-BE87-C19EC6771CD3}" dt="2023-09-21T08:01:07.669" v="13579" actId="948"/>
            <ac:spMkLst>
              <pc:docMk/>
              <pc:sldMasterMk cId="409606273" sldId="2147483648"/>
              <pc:sldLayoutMk cId="100241141" sldId="2147483651"/>
              <ac:spMk id="2" creationId="{3491294E-BEE7-4DA8-BBC8-88E1A7B07AEF}"/>
            </ac:spMkLst>
          </pc:spChg>
          <pc:spChg chg="add del mod modVis">
            <ac:chgData name="van Leeuwen  Sara (VPPL)" userId="7a5f1df4-0dd0-4c9e-a72f-a035cf318af6" providerId="ADAL" clId="{AAA37DE2-93D3-44F8-BE87-C19EC6771CD3}" dt="2023-09-21T08:01:08.115" v="15239" actId="478"/>
            <ac:spMkLst>
              <pc:docMk/>
              <pc:sldMasterMk cId="409606273" sldId="2147483648"/>
              <pc:sldLayoutMk cId="100241141" sldId="2147483651"/>
              <ac:spMk id="3" creationId="{B8239E7A-1605-7A1E-FEDF-C3E0F3CF6136}"/>
            </ac:spMkLst>
          </pc:spChg>
          <pc:spChg chg="mod">
            <ac:chgData name="van Leeuwen  Sara (VPPL)" userId="7a5f1df4-0dd0-4c9e-a72f-a035cf318af6" providerId="ADAL" clId="{AAA37DE2-93D3-44F8-BE87-C19EC6771CD3}" dt="2023-09-21T07:58:43.982" v="4771" actId="790"/>
            <ac:spMkLst>
              <pc:docMk/>
              <pc:sldMasterMk cId="409606273" sldId="2147483648"/>
              <pc:sldLayoutMk cId="100241141" sldId="2147483651"/>
              <ac:spMk id="8" creationId="{547D2927-4A99-4714-8EBA-F773EAA26308}"/>
            </ac:spMkLst>
          </pc:spChg>
          <pc:spChg chg="mod">
            <ac:chgData name="van Leeuwen  Sara (VPPL)" userId="7a5f1df4-0dd0-4c9e-a72f-a035cf318af6" providerId="ADAL" clId="{AAA37DE2-93D3-44F8-BE87-C19EC6771CD3}" dt="2023-09-21T07:58:43.982" v="4769" actId="790"/>
            <ac:spMkLst>
              <pc:docMk/>
              <pc:sldMasterMk cId="409606273" sldId="2147483648"/>
              <pc:sldLayoutMk cId="100241141" sldId="2147483651"/>
              <ac:spMk id="9" creationId="{003A487C-8977-4264-A8A1-D6C1DB604682}"/>
            </ac:spMkLst>
          </pc:spChg>
          <pc:spChg chg="mod">
            <ac:chgData name="van Leeuwen  Sara (VPPL)" userId="7a5f1df4-0dd0-4c9e-a72f-a035cf318af6" providerId="ADAL" clId="{AAA37DE2-93D3-44F8-BE87-C19EC6771CD3}" dt="2023-09-21T07:58:43.966" v="4767" actId="790"/>
            <ac:spMkLst>
              <pc:docMk/>
              <pc:sldMasterMk cId="409606273" sldId="2147483648"/>
              <pc:sldLayoutMk cId="100241141" sldId="2147483651"/>
              <ac:spMk id="11" creationId="{8A01615F-450E-43D0-B554-DA3FBD48DF34}"/>
            </ac:spMkLst>
          </pc:spChg>
          <pc:spChg chg="mod">
            <ac:chgData name="van Leeuwen  Sara (VPPL)" userId="7a5f1df4-0dd0-4c9e-a72f-a035cf318af6" providerId="ADAL" clId="{AAA37DE2-93D3-44F8-BE87-C19EC6771CD3}" dt="2023-09-21T07:58:43.982" v="4770" actId="790"/>
            <ac:spMkLst>
              <pc:docMk/>
              <pc:sldMasterMk cId="409606273" sldId="2147483648"/>
              <pc:sldLayoutMk cId="100241141" sldId="2147483651"/>
              <ac:spMk id="13" creationId="{E91D3734-CD8F-4F94-A813-570EF31C4732}"/>
            </ac:spMkLst>
          </pc:spChg>
          <pc:graphicFrameChg chg="mod">
            <ac:chgData name="van Leeuwen  Sara (VPPL)" userId="7a5f1df4-0dd0-4c9e-a72f-a035cf318af6" providerId="ADAL" clId="{AAA37DE2-93D3-44F8-BE87-C19EC6771CD3}" dt="2023-09-21T08:01:08.215" v="15364"/>
            <ac:graphicFrameMkLst>
              <pc:docMk/>
              <pc:sldMasterMk cId="409606273" sldId="2147483648"/>
              <pc:sldLayoutMk cId="100241141" sldId="2147483651"/>
              <ac:graphicFrameMk id="4" creationId="{9DBC9D52-5E1A-FE24-5D2D-8CE881468EDF}"/>
            </ac:graphicFrameMkLst>
          </pc:graphicFrameChg>
        </pc:sldLayoutChg>
        <pc:sldLayoutChg chg="addSp delSp modSp mod">
          <pc:chgData name="van Leeuwen  Sara (VPPL)" userId="7a5f1df4-0dd0-4c9e-a72f-a035cf318af6" providerId="ADAL" clId="{AAA37DE2-93D3-44F8-BE87-C19EC6771CD3}" dt="2023-09-21T08:01:08.219" v="15366"/>
          <pc:sldLayoutMkLst>
            <pc:docMk/>
            <pc:sldMasterMk cId="409606273" sldId="2147483648"/>
            <pc:sldLayoutMk cId="3924069494" sldId="2147483652"/>
          </pc:sldLayoutMkLst>
          <pc:spChg chg="mod">
            <ac:chgData name="van Leeuwen  Sara (VPPL)" userId="7a5f1df4-0dd0-4c9e-a72f-a035cf318af6" providerId="ADAL" clId="{AAA37DE2-93D3-44F8-BE87-C19EC6771CD3}" dt="2023-09-21T08:01:07.685" v="13615" actId="948"/>
            <ac:spMkLst>
              <pc:docMk/>
              <pc:sldMasterMk cId="409606273" sldId="2147483648"/>
              <pc:sldLayoutMk cId="3924069494" sldId="2147483652"/>
              <ac:spMk id="2" creationId="{3491294E-BEE7-4DA8-BBC8-88E1A7B07AEF}"/>
            </ac:spMkLst>
          </pc:spChg>
          <pc:spChg chg="mod">
            <ac:chgData name="van Leeuwen  Sara (VPPL)" userId="7a5f1df4-0dd0-4c9e-a72f-a035cf318af6" providerId="ADAL" clId="{AAA37DE2-93D3-44F8-BE87-C19EC6771CD3}" dt="2023-09-21T08:01:07.385" v="12593" actId="20577"/>
            <ac:spMkLst>
              <pc:docMk/>
              <pc:sldMasterMk cId="409606273" sldId="2147483648"/>
              <pc:sldLayoutMk cId="3924069494" sldId="2147483652"/>
              <ac:spMk id="3" creationId="{62D94F76-218E-49F2-87F8-05982912ED18}"/>
            </ac:spMkLst>
          </pc:spChg>
          <pc:spChg chg="add del mod modVis">
            <ac:chgData name="van Leeuwen  Sara (VPPL)" userId="7a5f1df4-0dd0-4c9e-a72f-a035cf318af6" providerId="ADAL" clId="{AAA37DE2-93D3-44F8-BE87-C19EC6771CD3}" dt="2023-09-21T08:01:08.115" v="15241" actId="478"/>
            <ac:spMkLst>
              <pc:docMk/>
              <pc:sldMasterMk cId="409606273" sldId="2147483648"/>
              <pc:sldLayoutMk cId="3924069494" sldId="2147483652"/>
              <ac:spMk id="4" creationId="{E9A4E176-0846-63CA-1515-EC539F12F6EB}"/>
            </ac:spMkLst>
          </pc:spChg>
          <pc:spChg chg="mod">
            <ac:chgData name="van Leeuwen  Sara (VPPL)" userId="7a5f1df4-0dd0-4c9e-a72f-a035cf318af6" providerId="ADAL" clId="{AAA37DE2-93D3-44F8-BE87-C19EC6771CD3}" dt="2023-09-21T07:58:43.997" v="4777" actId="790"/>
            <ac:spMkLst>
              <pc:docMk/>
              <pc:sldMasterMk cId="409606273" sldId="2147483648"/>
              <pc:sldLayoutMk cId="3924069494" sldId="2147483652"/>
              <ac:spMk id="7" creationId="{0503E57F-F89F-431B-8D38-7CC97B7C201A}"/>
            </ac:spMkLst>
          </pc:spChg>
          <pc:spChg chg="mod">
            <ac:chgData name="van Leeuwen  Sara (VPPL)" userId="7a5f1df4-0dd0-4c9e-a72f-a035cf318af6" providerId="ADAL" clId="{AAA37DE2-93D3-44F8-BE87-C19EC6771CD3}" dt="2023-09-21T07:58:43.997" v="4779" actId="790"/>
            <ac:spMkLst>
              <pc:docMk/>
              <pc:sldMasterMk cId="409606273" sldId="2147483648"/>
              <pc:sldLayoutMk cId="3924069494" sldId="2147483652"/>
              <ac:spMk id="8" creationId="{4ADF7DEC-21BD-45CA-9E91-B9F58A69F621}"/>
            </ac:spMkLst>
          </pc:spChg>
          <pc:spChg chg="mod">
            <ac:chgData name="van Leeuwen  Sara (VPPL)" userId="7a5f1df4-0dd0-4c9e-a72f-a035cf318af6" providerId="ADAL" clId="{AAA37DE2-93D3-44F8-BE87-C19EC6771CD3}" dt="2023-09-21T07:58:43.997" v="4778" actId="790"/>
            <ac:spMkLst>
              <pc:docMk/>
              <pc:sldMasterMk cId="409606273" sldId="2147483648"/>
              <pc:sldLayoutMk cId="3924069494" sldId="2147483652"/>
              <ac:spMk id="12" creationId="{1BEB6197-C509-4752-B57E-CEE955F5D926}"/>
            </ac:spMkLst>
          </pc:spChg>
          <pc:graphicFrameChg chg="mod">
            <ac:chgData name="van Leeuwen  Sara (VPPL)" userId="7a5f1df4-0dd0-4c9e-a72f-a035cf318af6" providerId="ADAL" clId="{AAA37DE2-93D3-44F8-BE87-C19EC6771CD3}" dt="2023-09-21T08:01:08.219" v="15366"/>
            <ac:graphicFrameMkLst>
              <pc:docMk/>
              <pc:sldMasterMk cId="409606273" sldId="2147483648"/>
              <pc:sldLayoutMk cId="3924069494" sldId="2147483652"/>
              <ac:graphicFrameMk id="5" creationId="{E4ACFB11-02C2-93C8-0231-17EB5B054693}"/>
            </ac:graphicFrameMkLst>
          </pc:graphicFrameChg>
        </pc:sldLayoutChg>
        <pc:sldLayoutChg chg="addSp delSp modSp mod">
          <pc:chgData name="van Leeuwen  Sara (VPPL)" userId="7a5f1df4-0dd0-4c9e-a72f-a035cf318af6" providerId="ADAL" clId="{AAA37DE2-93D3-44F8-BE87-C19EC6771CD3}" dt="2023-09-21T08:01:08.203" v="15358"/>
          <pc:sldLayoutMkLst>
            <pc:docMk/>
            <pc:sldMasterMk cId="409606273" sldId="2147483648"/>
            <pc:sldLayoutMk cId="732532068" sldId="2147483653"/>
          </pc:sldLayoutMkLst>
          <pc:spChg chg="mod">
            <ac:chgData name="van Leeuwen  Sara (VPPL)" userId="7a5f1df4-0dd0-4c9e-a72f-a035cf318af6" providerId="ADAL" clId="{AAA37DE2-93D3-44F8-BE87-C19EC6771CD3}" dt="2023-09-21T08:01:07.638" v="13435" actId="948"/>
            <ac:spMkLst>
              <pc:docMk/>
              <pc:sldMasterMk cId="409606273" sldId="2147483648"/>
              <pc:sldLayoutMk cId="732532068" sldId="2147483653"/>
              <ac:spMk id="2" creationId="{3491294E-BEE7-4DA8-BBC8-88E1A7B07AEF}"/>
            </ac:spMkLst>
          </pc:spChg>
          <pc:spChg chg="add del mod modVis">
            <ac:chgData name="van Leeuwen  Sara (VPPL)" userId="7a5f1df4-0dd0-4c9e-a72f-a035cf318af6" providerId="ADAL" clId="{AAA37DE2-93D3-44F8-BE87-C19EC6771CD3}" dt="2023-09-21T08:01:08.115" v="15231" actId="478"/>
            <ac:spMkLst>
              <pc:docMk/>
              <pc:sldMasterMk cId="409606273" sldId="2147483648"/>
              <pc:sldLayoutMk cId="732532068" sldId="2147483653"/>
              <ac:spMk id="3" creationId="{A5686F79-DF7D-4429-7B3B-B6809FBC435C}"/>
            </ac:spMkLst>
          </pc:spChg>
          <pc:spChg chg="mod">
            <ac:chgData name="van Leeuwen  Sara (VPPL)" userId="7a5f1df4-0dd0-4c9e-a72f-a035cf318af6" providerId="ADAL" clId="{AAA37DE2-93D3-44F8-BE87-C19EC6771CD3}" dt="2023-09-21T07:58:43.997" v="4781" actId="790"/>
            <ac:spMkLst>
              <pc:docMk/>
              <pc:sldMasterMk cId="409606273" sldId="2147483648"/>
              <pc:sldLayoutMk cId="732532068" sldId="2147483653"/>
              <ac:spMk id="6" creationId="{5FCAD79B-EF47-46A0-9575-229F3DAA72F5}"/>
            </ac:spMkLst>
          </pc:spChg>
          <pc:spChg chg="mod">
            <ac:chgData name="van Leeuwen  Sara (VPPL)" userId="7a5f1df4-0dd0-4c9e-a72f-a035cf318af6" providerId="ADAL" clId="{AAA37DE2-93D3-44F8-BE87-C19EC6771CD3}" dt="2023-09-21T07:58:44.014" v="4783" actId="790"/>
            <ac:spMkLst>
              <pc:docMk/>
              <pc:sldMasterMk cId="409606273" sldId="2147483648"/>
              <pc:sldLayoutMk cId="732532068" sldId="2147483653"/>
              <ac:spMk id="7" creationId="{789A3267-E086-4EC3-A0BB-F8ECD01A5C7E}"/>
            </ac:spMkLst>
          </pc:spChg>
          <pc:spChg chg="mod">
            <ac:chgData name="van Leeuwen  Sara (VPPL)" userId="7a5f1df4-0dd0-4c9e-a72f-a035cf318af6" providerId="ADAL" clId="{AAA37DE2-93D3-44F8-BE87-C19EC6771CD3}" dt="2023-09-21T07:58:44.014" v="4782" actId="790"/>
            <ac:spMkLst>
              <pc:docMk/>
              <pc:sldMasterMk cId="409606273" sldId="2147483648"/>
              <pc:sldLayoutMk cId="732532068" sldId="2147483653"/>
              <ac:spMk id="8" creationId="{72236FC6-C8FF-43C1-86B9-BF112345926F}"/>
            </ac:spMkLst>
          </pc:spChg>
          <pc:graphicFrameChg chg="mod">
            <ac:chgData name="van Leeuwen  Sara (VPPL)" userId="7a5f1df4-0dd0-4c9e-a72f-a035cf318af6" providerId="ADAL" clId="{AAA37DE2-93D3-44F8-BE87-C19EC6771CD3}" dt="2023-09-21T08:01:08.203" v="15358"/>
            <ac:graphicFrameMkLst>
              <pc:docMk/>
              <pc:sldMasterMk cId="409606273" sldId="2147483648"/>
              <pc:sldLayoutMk cId="732532068" sldId="2147483653"/>
              <ac:graphicFrameMk id="4" creationId="{DA664350-A5E5-3088-B899-6D2BE8FC1A6D}"/>
            </ac:graphicFrameMkLst>
          </pc:graphicFrameChg>
        </pc:sldLayoutChg>
        <pc:sldLayoutChg chg="addSp delSp modSp mod">
          <pc:chgData name="van Leeuwen  Sara (VPPL)" userId="7a5f1df4-0dd0-4c9e-a72f-a035cf318af6" providerId="ADAL" clId="{AAA37DE2-93D3-44F8-BE87-C19EC6771CD3}" dt="2023-09-21T08:01:08.156" v="15338"/>
          <pc:sldLayoutMkLst>
            <pc:docMk/>
            <pc:sldMasterMk cId="409606273" sldId="2147483648"/>
            <pc:sldLayoutMk cId="2789257521" sldId="2147483654"/>
          </pc:sldLayoutMkLst>
          <pc:spChg chg="mod">
            <ac:chgData name="van Leeuwen  Sara (VPPL)" userId="7a5f1df4-0dd0-4c9e-a72f-a035cf318af6" providerId="ADAL" clId="{AAA37DE2-93D3-44F8-BE87-C19EC6771CD3}" dt="2023-09-21T08:01:07.700" v="13651" actId="948"/>
            <ac:spMkLst>
              <pc:docMk/>
              <pc:sldMasterMk cId="409606273" sldId="2147483648"/>
              <pc:sldLayoutMk cId="2789257521" sldId="2147483654"/>
              <ac:spMk id="2" creationId="{3491294E-BEE7-4DA8-BBC8-88E1A7B07AEF}"/>
            </ac:spMkLst>
          </pc:spChg>
          <pc:spChg chg="add del mod modVis">
            <ac:chgData name="van Leeuwen  Sara (VPPL)" userId="7a5f1df4-0dd0-4c9e-a72f-a035cf318af6" providerId="ADAL" clId="{AAA37DE2-93D3-44F8-BE87-C19EC6771CD3}" dt="2023-09-21T08:01:08.115" v="15243" actId="478"/>
            <ac:spMkLst>
              <pc:docMk/>
              <pc:sldMasterMk cId="409606273" sldId="2147483648"/>
              <pc:sldLayoutMk cId="2789257521" sldId="2147483654"/>
              <ac:spMk id="3" creationId="{F92C8163-51A1-E012-00D9-9FCDD7F1EEBA}"/>
            </ac:spMkLst>
          </pc:spChg>
          <pc:spChg chg="mod">
            <ac:chgData name="van Leeuwen  Sara (VPPL)" userId="7a5f1df4-0dd0-4c9e-a72f-a035cf318af6" providerId="ADAL" clId="{AAA37DE2-93D3-44F8-BE87-C19EC6771CD3}" dt="2023-09-21T07:58:44.014" v="4784" actId="790"/>
            <ac:spMkLst>
              <pc:docMk/>
              <pc:sldMasterMk cId="409606273" sldId="2147483648"/>
              <pc:sldLayoutMk cId="2789257521" sldId="2147483654"/>
              <ac:spMk id="5" creationId="{EB061823-3F7A-48C8-8477-B410C18AC1B7}"/>
            </ac:spMkLst>
          </pc:spChg>
          <pc:spChg chg="mod">
            <ac:chgData name="van Leeuwen  Sara (VPPL)" userId="7a5f1df4-0dd0-4c9e-a72f-a035cf318af6" providerId="ADAL" clId="{AAA37DE2-93D3-44F8-BE87-C19EC6771CD3}" dt="2023-09-21T07:58:44.014" v="4786" actId="790"/>
            <ac:spMkLst>
              <pc:docMk/>
              <pc:sldMasterMk cId="409606273" sldId="2147483648"/>
              <pc:sldLayoutMk cId="2789257521" sldId="2147483654"/>
              <ac:spMk id="7" creationId="{D364BCB8-820F-4C3A-BA37-7048A4C8D4C3}"/>
            </ac:spMkLst>
          </pc:spChg>
          <pc:spChg chg="mod">
            <ac:chgData name="van Leeuwen  Sara (VPPL)" userId="7a5f1df4-0dd0-4c9e-a72f-a035cf318af6" providerId="ADAL" clId="{AAA37DE2-93D3-44F8-BE87-C19EC6771CD3}" dt="2023-09-21T07:58:44.029" v="4788" actId="790"/>
            <ac:spMkLst>
              <pc:docMk/>
              <pc:sldMasterMk cId="409606273" sldId="2147483648"/>
              <pc:sldLayoutMk cId="2789257521" sldId="2147483654"/>
              <ac:spMk id="9" creationId="{791A1AD7-DB7D-4C75-BEFB-EB6D34D3B2AB}"/>
            </ac:spMkLst>
          </pc:spChg>
          <pc:spChg chg="mod">
            <ac:chgData name="van Leeuwen  Sara (VPPL)" userId="7a5f1df4-0dd0-4c9e-a72f-a035cf318af6" providerId="ADAL" clId="{AAA37DE2-93D3-44F8-BE87-C19EC6771CD3}" dt="2023-09-21T07:58:44.014" v="4787" actId="790"/>
            <ac:spMkLst>
              <pc:docMk/>
              <pc:sldMasterMk cId="409606273" sldId="2147483648"/>
              <pc:sldLayoutMk cId="2789257521" sldId="2147483654"/>
              <ac:spMk id="11" creationId="{A73913C2-8DFE-4F15-B2DB-2A6D5C267009}"/>
            </ac:spMkLst>
          </pc:spChg>
          <pc:graphicFrameChg chg="mod">
            <ac:chgData name="van Leeuwen  Sara (VPPL)" userId="7a5f1df4-0dd0-4c9e-a72f-a035cf318af6" providerId="ADAL" clId="{AAA37DE2-93D3-44F8-BE87-C19EC6771CD3}" dt="2023-09-21T08:01:08.156" v="15338"/>
            <ac:graphicFrameMkLst>
              <pc:docMk/>
              <pc:sldMasterMk cId="409606273" sldId="2147483648"/>
              <pc:sldLayoutMk cId="2789257521" sldId="2147483654"/>
              <ac:graphicFrameMk id="6" creationId="{127070BA-5062-3B68-0BB4-A6D0457D1CD7}"/>
            </ac:graphicFrameMkLst>
          </pc:graphicFrameChg>
        </pc:sldLayoutChg>
        <pc:sldLayoutChg chg="addSp delSp modSp mod">
          <pc:chgData name="van Leeuwen  Sara (VPPL)" userId="7a5f1df4-0dd0-4c9e-a72f-a035cf318af6" providerId="ADAL" clId="{AAA37DE2-93D3-44F8-BE87-C19EC6771CD3}" dt="2023-09-21T08:01:08.235" v="15374"/>
          <pc:sldLayoutMkLst>
            <pc:docMk/>
            <pc:sldMasterMk cId="409606273" sldId="2147483648"/>
            <pc:sldLayoutMk cId="1888753134" sldId="2147483655"/>
          </pc:sldLayoutMkLst>
          <pc:spChg chg="mod">
            <ac:chgData name="van Leeuwen  Sara (VPPL)" userId="7a5f1df4-0dd0-4c9e-a72f-a035cf318af6" providerId="ADAL" clId="{AAA37DE2-93D3-44F8-BE87-C19EC6771CD3}" dt="2023-09-21T08:01:07.732" v="13759" actId="948"/>
            <ac:spMkLst>
              <pc:docMk/>
              <pc:sldMasterMk cId="409606273" sldId="2147483648"/>
              <pc:sldLayoutMk cId="1888753134" sldId="2147483655"/>
              <ac:spMk id="2" creationId="{3346F7F9-CBC8-4641-B12B-7E76FD213E12}"/>
            </ac:spMkLst>
          </pc:spChg>
          <pc:spChg chg="mod">
            <ac:chgData name="van Leeuwen  Sara (VPPL)" userId="7a5f1df4-0dd0-4c9e-a72f-a035cf318af6" providerId="ADAL" clId="{AAA37DE2-93D3-44F8-BE87-C19EC6771CD3}" dt="2023-09-21T07:58:44.045" v="4795" actId="790"/>
            <ac:spMkLst>
              <pc:docMk/>
              <pc:sldMasterMk cId="409606273" sldId="2147483648"/>
              <pc:sldLayoutMk cId="1888753134" sldId="2147483655"/>
              <ac:spMk id="3" creationId="{87D3E2EF-5F98-49EC-BCEA-B215D49920A3}"/>
            </ac:spMkLst>
          </pc:spChg>
          <pc:spChg chg="mod">
            <ac:chgData name="van Leeuwen  Sara (VPPL)" userId="7a5f1df4-0dd0-4c9e-a72f-a035cf318af6" providerId="ADAL" clId="{AAA37DE2-93D3-44F8-BE87-C19EC6771CD3}" dt="2023-09-21T07:58:44.045" v="4796" actId="790"/>
            <ac:spMkLst>
              <pc:docMk/>
              <pc:sldMasterMk cId="409606273" sldId="2147483648"/>
              <pc:sldLayoutMk cId="1888753134" sldId="2147483655"/>
              <ac:spMk id="4" creationId="{67DB21BA-81C0-43DB-A42C-5F672DBC37F2}"/>
            </ac:spMkLst>
          </pc:spChg>
          <pc:spChg chg="mod">
            <ac:chgData name="van Leeuwen  Sara (VPPL)" userId="7a5f1df4-0dd0-4c9e-a72f-a035cf318af6" providerId="ADAL" clId="{AAA37DE2-93D3-44F8-BE87-C19EC6771CD3}" dt="2023-09-21T08:01:07.401" v="12615" actId="790"/>
            <ac:spMkLst>
              <pc:docMk/>
              <pc:sldMasterMk cId="409606273" sldId="2147483648"/>
              <pc:sldLayoutMk cId="1888753134" sldId="2147483655"/>
              <ac:spMk id="5" creationId="{1BC78786-28C3-4EAB-A3FC-1A4BFA8447EC}"/>
            </ac:spMkLst>
          </pc:spChg>
          <pc:spChg chg="mod">
            <ac:chgData name="van Leeuwen  Sara (VPPL)" userId="7a5f1df4-0dd0-4c9e-a72f-a035cf318af6" providerId="ADAL" clId="{AAA37DE2-93D3-44F8-BE87-C19EC6771CD3}" dt="2023-09-21T07:58:44.061" v="4798" actId="790"/>
            <ac:spMkLst>
              <pc:docMk/>
              <pc:sldMasterMk cId="409606273" sldId="2147483648"/>
              <pc:sldLayoutMk cId="1888753134" sldId="2147483655"/>
              <ac:spMk id="6" creationId="{0FC1D5C1-A4AD-42D4-93B7-D3B71140E3A1}"/>
            </ac:spMkLst>
          </pc:spChg>
          <pc:spChg chg="add del mod modVis">
            <ac:chgData name="van Leeuwen  Sara (VPPL)" userId="7a5f1df4-0dd0-4c9e-a72f-a035cf318af6" providerId="ADAL" clId="{AAA37DE2-93D3-44F8-BE87-C19EC6771CD3}" dt="2023-09-21T08:01:08.125" v="15249" actId="478"/>
            <ac:spMkLst>
              <pc:docMk/>
              <pc:sldMasterMk cId="409606273" sldId="2147483648"/>
              <pc:sldLayoutMk cId="1888753134" sldId="2147483655"/>
              <ac:spMk id="8" creationId="{2C19981A-8089-91B1-AB71-E9274663CA83}"/>
            </ac:spMkLst>
          </pc:spChg>
          <pc:graphicFrameChg chg="mod">
            <ac:chgData name="van Leeuwen  Sara (VPPL)" userId="7a5f1df4-0dd0-4c9e-a72f-a035cf318af6" providerId="ADAL" clId="{AAA37DE2-93D3-44F8-BE87-C19EC6771CD3}" dt="2023-09-21T08:01:08.235" v="15374"/>
            <ac:graphicFrameMkLst>
              <pc:docMk/>
              <pc:sldMasterMk cId="409606273" sldId="2147483648"/>
              <pc:sldLayoutMk cId="1888753134" sldId="2147483655"/>
              <ac:graphicFrameMk id="9" creationId="{57277A93-F3FF-5C0A-2A20-3CB97AE794AF}"/>
            </ac:graphicFrameMkLst>
          </pc:graphicFrameChg>
        </pc:sldLayoutChg>
        <pc:sldLayoutChg chg="addSp delSp modSp mod">
          <pc:chgData name="van Leeuwen  Sara (VPPL)" userId="7a5f1df4-0dd0-4c9e-a72f-a035cf318af6" providerId="ADAL" clId="{AAA37DE2-93D3-44F8-BE87-C19EC6771CD3}" dt="2023-09-21T08:01:08.219" v="15372"/>
          <pc:sldLayoutMkLst>
            <pc:docMk/>
            <pc:sldMasterMk cId="409606273" sldId="2147483648"/>
            <pc:sldLayoutMk cId="426001722" sldId="2147483656"/>
          </pc:sldLayoutMkLst>
          <pc:spChg chg="mod">
            <ac:chgData name="van Leeuwen  Sara (VPPL)" userId="7a5f1df4-0dd0-4c9e-a72f-a035cf318af6" providerId="ADAL" clId="{AAA37DE2-93D3-44F8-BE87-C19EC6771CD3}" dt="2023-09-21T08:01:07.716" v="13723" actId="948"/>
            <ac:spMkLst>
              <pc:docMk/>
              <pc:sldMasterMk cId="409606273" sldId="2147483648"/>
              <pc:sldLayoutMk cId="426001722" sldId="2147483656"/>
              <ac:spMk id="2" creationId="{3346F7F9-CBC8-4641-B12B-7E76FD213E12}"/>
            </ac:spMkLst>
          </pc:spChg>
          <pc:spChg chg="mod">
            <ac:chgData name="van Leeuwen  Sara (VPPL)" userId="7a5f1df4-0dd0-4c9e-a72f-a035cf318af6" providerId="ADAL" clId="{AAA37DE2-93D3-44F8-BE87-C19EC6771CD3}" dt="2023-09-21T07:58:44.061" v="4800" actId="790"/>
            <ac:spMkLst>
              <pc:docMk/>
              <pc:sldMasterMk cId="409606273" sldId="2147483648"/>
              <pc:sldLayoutMk cId="426001722" sldId="2147483656"/>
              <ac:spMk id="3" creationId="{87D3E2EF-5F98-49EC-BCEA-B215D49920A3}"/>
            </ac:spMkLst>
          </pc:spChg>
          <pc:spChg chg="mod">
            <ac:chgData name="van Leeuwen  Sara (VPPL)" userId="7a5f1df4-0dd0-4c9e-a72f-a035cf318af6" providerId="ADAL" clId="{AAA37DE2-93D3-44F8-BE87-C19EC6771CD3}" dt="2023-09-21T07:58:44.061" v="4801" actId="790"/>
            <ac:spMkLst>
              <pc:docMk/>
              <pc:sldMasterMk cId="409606273" sldId="2147483648"/>
              <pc:sldLayoutMk cId="426001722" sldId="2147483656"/>
              <ac:spMk id="4" creationId="{67DB21BA-81C0-43DB-A42C-5F672DBC37F2}"/>
            </ac:spMkLst>
          </pc:spChg>
          <pc:spChg chg="mod">
            <ac:chgData name="van Leeuwen  Sara (VPPL)" userId="7a5f1df4-0dd0-4c9e-a72f-a035cf318af6" providerId="ADAL" clId="{AAA37DE2-93D3-44F8-BE87-C19EC6771CD3}" dt="2023-09-21T08:01:07.415" v="12620" actId="790"/>
            <ac:spMkLst>
              <pc:docMk/>
              <pc:sldMasterMk cId="409606273" sldId="2147483648"/>
              <pc:sldLayoutMk cId="426001722" sldId="2147483656"/>
              <ac:spMk id="5" creationId="{1BC78786-28C3-4EAB-A3FC-1A4BFA8447EC}"/>
            </ac:spMkLst>
          </pc:spChg>
          <pc:spChg chg="mod">
            <ac:chgData name="van Leeuwen  Sara (VPPL)" userId="7a5f1df4-0dd0-4c9e-a72f-a035cf318af6" providerId="ADAL" clId="{AAA37DE2-93D3-44F8-BE87-C19EC6771CD3}" dt="2023-09-21T07:58:44.077" v="4803" actId="790"/>
            <ac:spMkLst>
              <pc:docMk/>
              <pc:sldMasterMk cId="409606273" sldId="2147483648"/>
              <pc:sldLayoutMk cId="426001722" sldId="2147483656"/>
              <ac:spMk id="6" creationId="{0FC1D5C1-A4AD-42D4-93B7-D3B71140E3A1}"/>
            </ac:spMkLst>
          </pc:spChg>
          <pc:spChg chg="add del mod modVis">
            <ac:chgData name="van Leeuwen  Sara (VPPL)" userId="7a5f1df4-0dd0-4c9e-a72f-a035cf318af6" providerId="ADAL" clId="{AAA37DE2-93D3-44F8-BE87-C19EC6771CD3}" dt="2023-09-21T08:01:08.125" v="15247" actId="478"/>
            <ac:spMkLst>
              <pc:docMk/>
              <pc:sldMasterMk cId="409606273" sldId="2147483648"/>
              <pc:sldLayoutMk cId="426001722" sldId="2147483656"/>
              <ac:spMk id="8" creationId="{8932C654-E96D-DB8F-F416-0A4AAD664BA1}"/>
            </ac:spMkLst>
          </pc:spChg>
          <pc:spChg chg="mod">
            <ac:chgData name="van Leeuwen  Sara (VPPL)" userId="7a5f1df4-0dd0-4c9e-a72f-a035cf318af6" providerId="ADAL" clId="{AAA37DE2-93D3-44F8-BE87-C19EC6771CD3}" dt="2023-09-21T07:58:44.077" v="4804" actId="790"/>
            <ac:spMkLst>
              <pc:docMk/>
              <pc:sldMasterMk cId="409606273" sldId="2147483648"/>
              <pc:sldLayoutMk cId="426001722" sldId="2147483656"/>
              <ac:spMk id="11" creationId="{2F6D94FA-21C6-4AE0-AA4F-3A077810ED93}"/>
            </ac:spMkLst>
          </pc:spChg>
          <pc:graphicFrameChg chg="mod">
            <ac:chgData name="van Leeuwen  Sara (VPPL)" userId="7a5f1df4-0dd0-4c9e-a72f-a035cf318af6" providerId="ADAL" clId="{AAA37DE2-93D3-44F8-BE87-C19EC6771CD3}" dt="2023-09-21T08:01:08.219" v="15372"/>
            <ac:graphicFrameMkLst>
              <pc:docMk/>
              <pc:sldMasterMk cId="409606273" sldId="2147483648"/>
              <pc:sldLayoutMk cId="426001722" sldId="2147483656"/>
              <ac:graphicFrameMk id="9" creationId="{15BB064A-2F5C-25EC-EA57-1B922278268E}"/>
            </ac:graphicFrameMkLst>
          </pc:graphicFrameChg>
        </pc:sldLayoutChg>
        <pc:sldLayoutChg chg="addSp delSp modSp mod">
          <pc:chgData name="van Leeuwen  Sara (VPPL)" userId="7a5f1df4-0dd0-4c9e-a72f-a035cf318af6" providerId="ADAL" clId="{AAA37DE2-93D3-44F8-BE87-C19EC6771CD3}" dt="2023-09-21T08:01:08.235" v="15376"/>
          <pc:sldLayoutMkLst>
            <pc:docMk/>
            <pc:sldMasterMk cId="409606273" sldId="2147483648"/>
            <pc:sldLayoutMk cId="3716835328" sldId="2147483657"/>
          </pc:sldLayoutMkLst>
          <pc:spChg chg="mod">
            <ac:chgData name="van Leeuwen  Sara (VPPL)" userId="7a5f1df4-0dd0-4c9e-a72f-a035cf318af6" providerId="ADAL" clId="{AAA37DE2-93D3-44F8-BE87-C19EC6771CD3}" dt="2023-09-21T08:01:07.748" v="13795" actId="948"/>
            <ac:spMkLst>
              <pc:docMk/>
              <pc:sldMasterMk cId="409606273" sldId="2147483648"/>
              <pc:sldLayoutMk cId="3716835328" sldId="2147483657"/>
              <ac:spMk id="2" creationId="{3346F7F9-CBC8-4641-B12B-7E76FD213E12}"/>
            </ac:spMkLst>
          </pc:spChg>
          <pc:spChg chg="add del mod modVis">
            <ac:chgData name="van Leeuwen  Sara (VPPL)" userId="7a5f1df4-0dd0-4c9e-a72f-a035cf318af6" providerId="ADAL" clId="{AAA37DE2-93D3-44F8-BE87-C19EC6771CD3}" dt="2023-09-21T08:01:08.125" v="15251" actId="478"/>
            <ac:spMkLst>
              <pc:docMk/>
              <pc:sldMasterMk cId="409606273" sldId="2147483648"/>
              <pc:sldLayoutMk cId="3716835328" sldId="2147483657"/>
              <ac:spMk id="3" creationId="{EA68A876-8651-90D3-BA3A-6D3EDCAE7DBB}"/>
            </ac:spMkLst>
          </pc:spChg>
          <pc:spChg chg="mod">
            <ac:chgData name="van Leeuwen  Sara (VPPL)" userId="7a5f1df4-0dd0-4c9e-a72f-a035cf318af6" providerId="ADAL" clId="{AAA37DE2-93D3-44F8-BE87-C19EC6771CD3}" dt="2023-09-21T07:58:44.077" v="4806" actId="790"/>
            <ac:spMkLst>
              <pc:docMk/>
              <pc:sldMasterMk cId="409606273" sldId="2147483648"/>
              <pc:sldLayoutMk cId="3716835328" sldId="2147483657"/>
              <ac:spMk id="4" creationId="{67DB21BA-81C0-43DB-A42C-5F672DBC37F2}"/>
            </ac:spMkLst>
          </pc:spChg>
          <pc:spChg chg="mod">
            <ac:chgData name="van Leeuwen  Sara (VPPL)" userId="7a5f1df4-0dd0-4c9e-a72f-a035cf318af6" providerId="ADAL" clId="{AAA37DE2-93D3-44F8-BE87-C19EC6771CD3}" dt="2023-09-21T08:01:07.417" v="12625" actId="790"/>
            <ac:spMkLst>
              <pc:docMk/>
              <pc:sldMasterMk cId="409606273" sldId="2147483648"/>
              <pc:sldLayoutMk cId="3716835328" sldId="2147483657"/>
              <ac:spMk id="5" creationId="{1BC78786-28C3-4EAB-A3FC-1A4BFA8447EC}"/>
            </ac:spMkLst>
          </pc:spChg>
          <pc:spChg chg="mod">
            <ac:chgData name="van Leeuwen  Sara (VPPL)" userId="7a5f1df4-0dd0-4c9e-a72f-a035cf318af6" providerId="ADAL" clId="{AAA37DE2-93D3-44F8-BE87-C19EC6771CD3}" dt="2023-09-21T07:58:44.093" v="4808" actId="790"/>
            <ac:spMkLst>
              <pc:docMk/>
              <pc:sldMasterMk cId="409606273" sldId="2147483648"/>
              <pc:sldLayoutMk cId="3716835328" sldId="2147483657"/>
              <ac:spMk id="6" creationId="{0FC1D5C1-A4AD-42D4-93B7-D3B71140E3A1}"/>
            </ac:spMkLst>
          </pc:spChg>
          <pc:spChg chg="mod">
            <ac:chgData name="van Leeuwen  Sara (VPPL)" userId="7a5f1df4-0dd0-4c9e-a72f-a035cf318af6" providerId="ADAL" clId="{AAA37DE2-93D3-44F8-BE87-C19EC6771CD3}" dt="2023-09-21T08:01:07.433" v="12666" actId="20577"/>
            <ac:spMkLst>
              <pc:docMk/>
              <pc:sldMasterMk cId="409606273" sldId="2147483648"/>
              <pc:sldLayoutMk cId="3716835328" sldId="2147483657"/>
              <ac:spMk id="13" creationId="{18BB0752-F87C-44D9-A9A5-97AF1DEDA1AE}"/>
            </ac:spMkLst>
          </pc:spChg>
          <pc:spChg chg="mod">
            <ac:chgData name="van Leeuwen  Sara (VPPL)" userId="7a5f1df4-0dd0-4c9e-a72f-a035cf318af6" providerId="ADAL" clId="{AAA37DE2-93D3-44F8-BE87-C19EC6771CD3}" dt="2023-09-21T08:01:07.433" v="12662" actId="20577"/>
            <ac:spMkLst>
              <pc:docMk/>
              <pc:sldMasterMk cId="409606273" sldId="2147483648"/>
              <pc:sldLayoutMk cId="3716835328" sldId="2147483657"/>
              <ac:spMk id="14" creationId="{ED44DE23-7081-4AC9-BF06-502BEC71C004}"/>
            </ac:spMkLst>
          </pc:spChg>
          <pc:spChg chg="mod">
            <ac:chgData name="van Leeuwen  Sara (VPPL)" userId="7a5f1df4-0dd0-4c9e-a72f-a035cf318af6" providerId="ADAL" clId="{AAA37DE2-93D3-44F8-BE87-C19EC6771CD3}" dt="2023-09-21T08:01:07.433" v="12658" actId="20577"/>
            <ac:spMkLst>
              <pc:docMk/>
              <pc:sldMasterMk cId="409606273" sldId="2147483648"/>
              <pc:sldLayoutMk cId="3716835328" sldId="2147483657"/>
              <ac:spMk id="15" creationId="{18C24FD2-AEE2-43CA-8EB3-8E646C2E5E46}"/>
            </ac:spMkLst>
          </pc:spChg>
          <pc:spChg chg="mod">
            <ac:chgData name="van Leeuwen  Sara (VPPL)" userId="7a5f1df4-0dd0-4c9e-a72f-a035cf318af6" providerId="ADAL" clId="{AAA37DE2-93D3-44F8-BE87-C19EC6771CD3}" dt="2023-09-21T08:01:07.433" v="12654" actId="20577"/>
            <ac:spMkLst>
              <pc:docMk/>
              <pc:sldMasterMk cId="409606273" sldId="2147483648"/>
              <pc:sldLayoutMk cId="3716835328" sldId="2147483657"/>
              <ac:spMk id="16" creationId="{AEE7F6F4-4D2C-45B3-A061-9606B2BD36A7}"/>
            </ac:spMkLst>
          </pc:spChg>
          <pc:spChg chg="mod">
            <ac:chgData name="van Leeuwen  Sara (VPPL)" userId="7a5f1df4-0dd0-4c9e-a72f-a035cf318af6" providerId="ADAL" clId="{AAA37DE2-93D3-44F8-BE87-C19EC6771CD3}" dt="2023-09-21T08:01:07.433" v="12650" actId="20577"/>
            <ac:spMkLst>
              <pc:docMk/>
              <pc:sldMasterMk cId="409606273" sldId="2147483648"/>
              <pc:sldLayoutMk cId="3716835328" sldId="2147483657"/>
              <ac:spMk id="18" creationId="{B2186F78-5D28-4695-8B1C-5A3F1A53AAB3}"/>
            </ac:spMkLst>
          </pc:spChg>
          <pc:spChg chg="mod">
            <ac:chgData name="van Leeuwen  Sara (VPPL)" userId="7a5f1df4-0dd0-4c9e-a72f-a035cf318af6" providerId="ADAL" clId="{AAA37DE2-93D3-44F8-BE87-C19EC6771CD3}" dt="2023-09-21T08:01:07.417" v="12646" actId="20577"/>
            <ac:spMkLst>
              <pc:docMk/>
              <pc:sldMasterMk cId="409606273" sldId="2147483648"/>
              <pc:sldLayoutMk cId="3716835328" sldId="2147483657"/>
              <ac:spMk id="19" creationId="{1FE5475E-83C3-4BE3-BBF1-FAE9A6986B3F}"/>
            </ac:spMkLst>
          </pc:spChg>
          <pc:spChg chg="mod">
            <ac:chgData name="van Leeuwen  Sara (VPPL)" userId="7a5f1df4-0dd0-4c9e-a72f-a035cf318af6" providerId="ADAL" clId="{AAA37DE2-93D3-44F8-BE87-C19EC6771CD3}" dt="2023-09-21T08:01:07.417" v="12642" actId="20577"/>
            <ac:spMkLst>
              <pc:docMk/>
              <pc:sldMasterMk cId="409606273" sldId="2147483648"/>
              <pc:sldLayoutMk cId="3716835328" sldId="2147483657"/>
              <ac:spMk id="20" creationId="{41B77B6E-E7CB-412B-95AC-A9322C6799BB}"/>
            </ac:spMkLst>
          </pc:spChg>
          <pc:spChg chg="mod">
            <ac:chgData name="van Leeuwen  Sara (VPPL)" userId="7a5f1df4-0dd0-4c9e-a72f-a035cf318af6" providerId="ADAL" clId="{AAA37DE2-93D3-44F8-BE87-C19EC6771CD3}" dt="2023-09-21T08:01:07.417" v="12638" actId="20577"/>
            <ac:spMkLst>
              <pc:docMk/>
              <pc:sldMasterMk cId="409606273" sldId="2147483648"/>
              <pc:sldLayoutMk cId="3716835328" sldId="2147483657"/>
              <ac:spMk id="21" creationId="{832E5C1A-13CE-49A6-B590-B6EAA5F9E1AD}"/>
            </ac:spMkLst>
          </pc:spChg>
          <pc:spChg chg="mod">
            <ac:chgData name="van Leeuwen  Sara (VPPL)" userId="7a5f1df4-0dd0-4c9e-a72f-a035cf318af6" providerId="ADAL" clId="{AAA37DE2-93D3-44F8-BE87-C19EC6771CD3}" dt="2023-09-21T08:01:07.417" v="12634" actId="20577"/>
            <ac:spMkLst>
              <pc:docMk/>
              <pc:sldMasterMk cId="409606273" sldId="2147483648"/>
              <pc:sldLayoutMk cId="3716835328" sldId="2147483657"/>
              <ac:spMk id="22" creationId="{63AE00B0-780F-4053-8FE9-B7D321217AFF}"/>
            </ac:spMkLst>
          </pc:spChg>
          <pc:spChg chg="mod">
            <ac:chgData name="van Leeuwen  Sara (VPPL)" userId="7a5f1df4-0dd0-4c9e-a72f-a035cf318af6" providerId="ADAL" clId="{AAA37DE2-93D3-44F8-BE87-C19EC6771CD3}" dt="2023-09-21T08:01:07.417" v="12630" actId="20577"/>
            <ac:spMkLst>
              <pc:docMk/>
              <pc:sldMasterMk cId="409606273" sldId="2147483648"/>
              <pc:sldLayoutMk cId="3716835328" sldId="2147483657"/>
              <ac:spMk id="23" creationId="{2406CEAF-7399-4CCB-A322-03F0BA2532F5}"/>
            </ac:spMkLst>
          </pc:spChg>
          <pc:graphicFrameChg chg="mod">
            <ac:chgData name="van Leeuwen  Sara (VPPL)" userId="7a5f1df4-0dd0-4c9e-a72f-a035cf318af6" providerId="ADAL" clId="{AAA37DE2-93D3-44F8-BE87-C19EC6771CD3}" dt="2023-09-21T08:01:08.235" v="15376"/>
            <ac:graphicFrameMkLst>
              <pc:docMk/>
              <pc:sldMasterMk cId="409606273" sldId="2147483648"/>
              <pc:sldLayoutMk cId="3716835328" sldId="2147483657"/>
              <ac:graphicFrameMk id="7" creationId="{CC007B98-B8E7-5D06-BE36-389E1CC53E37}"/>
            </ac:graphicFrameMkLst>
          </pc:graphicFrameChg>
        </pc:sldLayoutChg>
        <pc:sldLayoutChg chg="addSp delSp modSp mod">
          <pc:chgData name="van Leeuwen  Sara (VPPL)" userId="7a5f1df4-0dd0-4c9e-a72f-a035cf318af6" providerId="ADAL" clId="{AAA37DE2-93D3-44F8-BE87-C19EC6771CD3}" dt="2023-09-21T08:01:08.172" v="15342"/>
          <pc:sldLayoutMkLst>
            <pc:docMk/>
            <pc:sldMasterMk cId="409606273" sldId="2147483648"/>
            <pc:sldLayoutMk cId="943852122" sldId="2147483658"/>
          </pc:sldLayoutMkLst>
          <pc:spChg chg="mod">
            <ac:chgData name="van Leeuwen  Sara (VPPL)" userId="7a5f1df4-0dd0-4c9e-a72f-a035cf318af6" providerId="ADAL" clId="{AAA37DE2-93D3-44F8-BE87-C19EC6771CD3}" dt="2023-09-21T08:01:07.748" v="13831" actId="948"/>
            <ac:spMkLst>
              <pc:docMk/>
              <pc:sldMasterMk cId="409606273" sldId="2147483648"/>
              <pc:sldLayoutMk cId="943852122" sldId="2147483658"/>
              <ac:spMk id="2" creationId="{3346F7F9-CBC8-4641-B12B-7E76FD213E12}"/>
            </ac:spMkLst>
          </pc:spChg>
          <pc:spChg chg="add del mod modVis">
            <ac:chgData name="van Leeuwen  Sara (VPPL)" userId="7a5f1df4-0dd0-4c9e-a72f-a035cf318af6" providerId="ADAL" clId="{AAA37DE2-93D3-44F8-BE87-C19EC6771CD3}" dt="2023-09-21T08:01:08.125" v="15253" actId="478"/>
            <ac:spMkLst>
              <pc:docMk/>
              <pc:sldMasterMk cId="409606273" sldId="2147483648"/>
              <pc:sldLayoutMk cId="943852122" sldId="2147483658"/>
              <ac:spMk id="3" creationId="{5CEA9805-B361-E0F1-E7B8-EC0B25EA89C3}"/>
            </ac:spMkLst>
          </pc:spChg>
          <pc:spChg chg="mod">
            <ac:chgData name="van Leeuwen  Sara (VPPL)" userId="7a5f1df4-0dd0-4c9e-a72f-a035cf318af6" providerId="ADAL" clId="{AAA37DE2-93D3-44F8-BE87-C19EC6771CD3}" dt="2023-09-21T07:58:44.125" v="4850" actId="790"/>
            <ac:spMkLst>
              <pc:docMk/>
              <pc:sldMasterMk cId="409606273" sldId="2147483648"/>
              <pc:sldLayoutMk cId="943852122" sldId="2147483658"/>
              <ac:spMk id="4" creationId="{67DB21BA-81C0-43DB-A42C-5F672DBC37F2}"/>
            </ac:spMkLst>
          </pc:spChg>
          <pc:spChg chg="mod">
            <ac:chgData name="van Leeuwen  Sara (VPPL)" userId="7a5f1df4-0dd0-4c9e-a72f-a035cf318af6" providerId="ADAL" clId="{AAA37DE2-93D3-44F8-BE87-C19EC6771CD3}" dt="2023-09-21T08:01:07.433" v="12669" actId="790"/>
            <ac:spMkLst>
              <pc:docMk/>
              <pc:sldMasterMk cId="409606273" sldId="2147483648"/>
              <pc:sldLayoutMk cId="943852122" sldId="2147483658"/>
              <ac:spMk id="5" creationId="{1BC78786-28C3-4EAB-A3FC-1A4BFA8447EC}"/>
            </ac:spMkLst>
          </pc:spChg>
          <pc:spChg chg="mod">
            <ac:chgData name="van Leeuwen  Sara (VPPL)" userId="7a5f1df4-0dd0-4c9e-a72f-a035cf318af6" providerId="ADAL" clId="{AAA37DE2-93D3-44F8-BE87-C19EC6771CD3}" dt="2023-09-21T07:58:44.125" v="4852" actId="790"/>
            <ac:spMkLst>
              <pc:docMk/>
              <pc:sldMasterMk cId="409606273" sldId="2147483648"/>
              <pc:sldLayoutMk cId="943852122" sldId="2147483658"/>
              <ac:spMk id="6" creationId="{0FC1D5C1-A4AD-42D4-93B7-D3B71140E3A1}"/>
            </ac:spMkLst>
          </pc:spChg>
          <pc:spChg chg="mod">
            <ac:chgData name="van Leeuwen  Sara (VPPL)" userId="7a5f1df4-0dd0-4c9e-a72f-a035cf318af6" providerId="ADAL" clId="{AAA37DE2-93D3-44F8-BE87-C19EC6771CD3}" dt="2023-09-21T07:58:44.125" v="4853" actId="790"/>
            <ac:spMkLst>
              <pc:docMk/>
              <pc:sldMasterMk cId="409606273" sldId="2147483648"/>
              <pc:sldLayoutMk cId="943852122" sldId="2147483658"/>
              <ac:spMk id="11" creationId="{05941150-30DE-48F5-9038-0E82CD18DE28}"/>
            </ac:spMkLst>
          </pc:spChg>
          <pc:graphicFrameChg chg="mod">
            <ac:chgData name="van Leeuwen  Sara (VPPL)" userId="7a5f1df4-0dd0-4c9e-a72f-a035cf318af6" providerId="ADAL" clId="{AAA37DE2-93D3-44F8-BE87-C19EC6771CD3}" dt="2023-09-21T08:01:08.172" v="15342"/>
            <ac:graphicFrameMkLst>
              <pc:docMk/>
              <pc:sldMasterMk cId="409606273" sldId="2147483648"/>
              <pc:sldLayoutMk cId="943852122" sldId="2147483658"/>
              <ac:graphicFrameMk id="8" creationId="{90FE4F96-D083-F22D-0FDA-77047DF69419}"/>
            </ac:graphicFrameMkLst>
          </pc:graphicFrameChg>
        </pc:sldLayoutChg>
        <pc:sldLayoutChg chg="modSp mod">
          <pc:chgData name="van Leeuwen  Sara (VPPL)" userId="7a5f1df4-0dd0-4c9e-a72f-a035cf318af6" providerId="ADAL" clId="{AAA37DE2-93D3-44F8-BE87-C19EC6771CD3}" dt="2023-09-21T08:01:08.172" v="15344"/>
          <pc:sldLayoutMkLst>
            <pc:docMk/>
            <pc:sldMasterMk cId="409606273" sldId="2147483648"/>
            <pc:sldLayoutMk cId="2842048334" sldId="2147483659"/>
          </pc:sldLayoutMkLst>
          <pc:spChg chg="mod">
            <ac:chgData name="van Leeuwen  Sara (VPPL)" userId="7a5f1df4-0dd0-4c9e-a72f-a035cf318af6" providerId="ADAL" clId="{AAA37DE2-93D3-44F8-BE87-C19EC6771CD3}" dt="2023-09-21T07:58:44.141" v="4854" actId="790"/>
            <ac:spMkLst>
              <pc:docMk/>
              <pc:sldMasterMk cId="409606273" sldId="2147483648"/>
              <pc:sldLayoutMk cId="2842048334" sldId="2147483659"/>
              <ac:spMk id="4" creationId="{67DB21BA-81C0-43DB-A42C-5F672DBC37F2}"/>
            </ac:spMkLst>
          </pc:spChg>
          <pc:spChg chg="mod">
            <ac:chgData name="van Leeuwen  Sara (VPPL)" userId="7a5f1df4-0dd0-4c9e-a72f-a035cf318af6" providerId="ADAL" clId="{AAA37DE2-93D3-44F8-BE87-C19EC6771CD3}" dt="2023-09-21T08:01:07.433" v="12673" actId="790"/>
            <ac:spMkLst>
              <pc:docMk/>
              <pc:sldMasterMk cId="409606273" sldId="2147483648"/>
              <pc:sldLayoutMk cId="2842048334" sldId="2147483659"/>
              <ac:spMk id="5" creationId="{1BC78786-28C3-4EAB-A3FC-1A4BFA8447EC}"/>
            </ac:spMkLst>
          </pc:spChg>
          <pc:spChg chg="mod">
            <ac:chgData name="van Leeuwen  Sara (VPPL)" userId="7a5f1df4-0dd0-4c9e-a72f-a035cf318af6" providerId="ADAL" clId="{AAA37DE2-93D3-44F8-BE87-C19EC6771CD3}" dt="2023-09-21T07:58:44.141" v="4856" actId="790"/>
            <ac:spMkLst>
              <pc:docMk/>
              <pc:sldMasterMk cId="409606273" sldId="2147483648"/>
              <pc:sldLayoutMk cId="2842048334" sldId="2147483659"/>
              <ac:spMk id="6" creationId="{0FC1D5C1-A4AD-42D4-93B7-D3B71140E3A1}"/>
            </ac:spMkLst>
          </pc:spChg>
          <pc:spChg chg="mod">
            <ac:chgData name="van Leeuwen  Sara (VPPL)" userId="7a5f1df4-0dd0-4c9e-a72f-a035cf318af6" providerId="ADAL" clId="{AAA37DE2-93D3-44F8-BE87-C19EC6771CD3}" dt="2023-09-21T07:58:44.141" v="4857" actId="790"/>
            <ac:spMkLst>
              <pc:docMk/>
              <pc:sldMasterMk cId="409606273" sldId="2147483648"/>
              <pc:sldLayoutMk cId="2842048334" sldId="2147483659"/>
              <ac:spMk id="11" creationId="{05941150-30DE-48F5-9038-0E82CD18DE28}"/>
            </ac:spMkLst>
          </pc:spChg>
          <pc:graphicFrameChg chg="mod">
            <ac:chgData name="van Leeuwen  Sara (VPPL)" userId="7a5f1df4-0dd0-4c9e-a72f-a035cf318af6" providerId="ADAL" clId="{AAA37DE2-93D3-44F8-BE87-C19EC6771CD3}" dt="2023-09-21T08:01:08.172" v="15344"/>
            <ac:graphicFrameMkLst>
              <pc:docMk/>
              <pc:sldMasterMk cId="409606273" sldId="2147483648"/>
              <pc:sldLayoutMk cId="2842048334" sldId="2147483659"/>
              <ac:graphicFrameMk id="2" creationId="{CEC49A61-509E-32FC-B506-6DE2EAF0DC90}"/>
            </ac:graphicFrameMkLst>
          </pc:graphicFrameChg>
        </pc:sldLayoutChg>
        <pc:sldLayoutChg chg="addSp delSp modSp mod">
          <pc:chgData name="van Leeuwen  Sara (VPPL)" userId="7a5f1df4-0dd0-4c9e-a72f-a035cf318af6" providerId="ADAL" clId="{AAA37DE2-93D3-44F8-BE87-C19EC6771CD3}" dt="2023-09-21T08:01:08.188" v="15348"/>
          <pc:sldLayoutMkLst>
            <pc:docMk/>
            <pc:sldMasterMk cId="409606273" sldId="2147483648"/>
            <pc:sldLayoutMk cId="3996394784" sldId="2147483660"/>
          </pc:sldLayoutMkLst>
          <pc:spChg chg="mod">
            <ac:chgData name="van Leeuwen  Sara (VPPL)" userId="7a5f1df4-0dd0-4c9e-a72f-a035cf318af6" providerId="ADAL" clId="{AAA37DE2-93D3-44F8-BE87-C19EC6771CD3}" dt="2023-09-21T08:01:07.779" v="13903" actId="948"/>
            <ac:spMkLst>
              <pc:docMk/>
              <pc:sldMasterMk cId="409606273" sldId="2147483648"/>
              <pc:sldLayoutMk cId="3996394784" sldId="2147483660"/>
              <ac:spMk id="2" creationId="{3346F7F9-CBC8-4641-B12B-7E76FD213E12}"/>
            </ac:spMkLst>
          </pc:spChg>
          <pc:spChg chg="mod">
            <ac:chgData name="van Leeuwen  Sara (VPPL)" userId="7a5f1df4-0dd0-4c9e-a72f-a035cf318af6" providerId="ADAL" clId="{AAA37DE2-93D3-44F8-BE87-C19EC6771CD3}" dt="2023-09-21T07:58:44.141" v="4859" actId="790"/>
            <ac:spMkLst>
              <pc:docMk/>
              <pc:sldMasterMk cId="409606273" sldId="2147483648"/>
              <pc:sldLayoutMk cId="3996394784" sldId="2147483660"/>
              <ac:spMk id="3" creationId="{87D3E2EF-5F98-49EC-BCEA-B215D49920A3}"/>
            </ac:spMkLst>
          </pc:spChg>
          <pc:spChg chg="mod">
            <ac:chgData name="van Leeuwen  Sara (VPPL)" userId="7a5f1df4-0dd0-4c9e-a72f-a035cf318af6" providerId="ADAL" clId="{AAA37DE2-93D3-44F8-BE87-C19EC6771CD3}" dt="2023-09-21T07:58:44.157" v="4860" actId="790"/>
            <ac:spMkLst>
              <pc:docMk/>
              <pc:sldMasterMk cId="409606273" sldId="2147483648"/>
              <pc:sldLayoutMk cId="3996394784" sldId="2147483660"/>
              <ac:spMk id="4" creationId="{67DB21BA-81C0-43DB-A42C-5F672DBC37F2}"/>
            </ac:spMkLst>
          </pc:spChg>
          <pc:spChg chg="mod">
            <ac:chgData name="van Leeuwen  Sara (VPPL)" userId="7a5f1df4-0dd0-4c9e-a72f-a035cf318af6" providerId="ADAL" clId="{AAA37DE2-93D3-44F8-BE87-C19EC6771CD3}" dt="2023-09-21T08:01:07.433" v="12679" actId="790"/>
            <ac:spMkLst>
              <pc:docMk/>
              <pc:sldMasterMk cId="409606273" sldId="2147483648"/>
              <pc:sldLayoutMk cId="3996394784" sldId="2147483660"/>
              <ac:spMk id="5" creationId="{1BC78786-28C3-4EAB-A3FC-1A4BFA8447EC}"/>
            </ac:spMkLst>
          </pc:spChg>
          <pc:spChg chg="mod">
            <ac:chgData name="van Leeuwen  Sara (VPPL)" userId="7a5f1df4-0dd0-4c9e-a72f-a035cf318af6" providerId="ADAL" clId="{AAA37DE2-93D3-44F8-BE87-C19EC6771CD3}" dt="2023-09-21T07:58:44.157" v="4862" actId="790"/>
            <ac:spMkLst>
              <pc:docMk/>
              <pc:sldMasterMk cId="409606273" sldId="2147483648"/>
              <pc:sldLayoutMk cId="3996394784" sldId="2147483660"/>
              <ac:spMk id="6" creationId="{0FC1D5C1-A4AD-42D4-93B7-D3B71140E3A1}"/>
            </ac:spMkLst>
          </pc:spChg>
          <pc:spChg chg="add del mod modVis">
            <ac:chgData name="van Leeuwen  Sara (VPPL)" userId="7a5f1df4-0dd0-4c9e-a72f-a035cf318af6" providerId="ADAL" clId="{AAA37DE2-93D3-44F8-BE87-C19EC6771CD3}" dt="2023-09-21T08:01:08.125" v="15258" actId="478"/>
            <ac:spMkLst>
              <pc:docMk/>
              <pc:sldMasterMk cId="409606273" sldId="2147483648"/>
              <pc:sldLayoutMk cId="3996394784" sldId="2147483660"/>
              <ac:spMk id="8" creationId="{F130A0A8-2FAC-D8CB-4EBF-2F54A56BB6DC}"/>
            </ac:spMkLst>
          </pc:spChg>
          <pc:spChg chg="mod">
            <ac:chgData name="van Leeuwen  Sara (VPPL)" userId="7a5f1df4-0dd0-4c9e-a72f-a035cf318af6" providerId="ADAL" clId="{AAA37DE2-93D3-44F8-BE87-C19EC6771CD3}" dt="2023-09-21T07:58:44.157" v="4863" actId="790"/>
            <ac:spMkLst>
              <pc:docMk/>
              <pc:sldMasterMk cId="409606273" sldId="2147483648"/>
              <pc:sldLayoutMk cId="3996394784" sldId="2147483660"/>
              <ac:spMk id="11" creationId="{221A3BAE-B19D-4390-B4A5-2C8A2CC87C59}"/>
            </ac:spMkLst>
          </pc:spChg>
          <pc:graphicFrameChg chg="mod">
            <ac:chgData name="van Leeuwen  Sara (VPPL)" userId="7a5f1df4-0dd0-4c9e-a72f-a035cf318af6" providerId="ADAL" clId="{AAA37DE2-93D3-44F8-BE87-C19EC6771CD3}" dt="2023-09-21T08:01:08.188" v="15348"/>
            <ac:graphicFrameMkLst>
              <pc:docMk/>
              <pc:sldMasterMk cId="409606273" sldId="2147483648"/>
              <pc:sldLayoutMk cId="3996394784" sldId="2147483660"/>
              <ac:graphicFrameMk id="9" creationId="{A14F9B4A-5E71-2436-C531-60297CE2AF8D}"/>
            </ac:graphicFrameMkLst>
          </pc:graphicFrameChg>
        </pc:sldLayoutChg>
        <pc:sldLayoutChg chg="addSp delSp modSp mod">
          <pc:chgData name="van Leeuwen  Sara (VPPL)" userId="7a5f1df4-0dd0-4c9e-a72f-a035cf318af6" providerId="ADAL" clId="{AAA37DE2-93D3-44F8-BE87-C19EC6771CD3}" dt="2023-09-21T08:01:08.172" v="15346"/>
          <pc:sldLayoutMkLst>
            <pc:docMk/>
            <pc:sldMasterMk cId="409606273" sldId="2147483648"/>
            <pc:sldLayoutMk cId="1085750778" sldId="2147483661"/>
          </pc:sldLayoutMkLst>
          <pc:spChg chg="mod">
            <ac:chgData name="van Leeuwen  Sara (VPPL)" userId="7a5f1df4-0dd0-4c9e-a72f-a035cf318af6" providerId="ADAL" clId="{AAA37DE2-93D3-44F8-BE87-C19EC6771CD3}" dt="2023-09-21T08:01:07.764" v="13867" actId="948"/>
            <ac:spMkLst>
              <pc:docMk/>
              <pc:sldMasterMk cId="409606273" sldId="2147483648"/>
              <pc:sldLayoutMk cId="1085750778" sldId="2147483661"/>
              <ac:spMk id="2" creationId="{3346F7F9-CBC8-4641-B12B-7E76FD213E12}"/>
            </ac:spMkLst>
          </pc:spChg>
          <pc:spChg chg="mod">
            <ac:chgData name="van Leeuwen  Sara (VPPL)" userId="7a5f1df4-0dd0-4c9e-a72f-a035cf318af6" providerId="ADAL" clId="{AAA37DE2-93D3-44F8-BE87-C19EC6771CD3}" dt="2023-09-21T07:58:44.172" v="4865" actId="790"/>
            <ac:spMkLst>
              <pc:docMk/>
              <pc:sldMasterMk cId="409606273" sldId="2147483648"/>
              <pc:sldLayoutMk cId="1085750778" sldId="2147483661"/>
              <ac:spMk id="3" creationId="{87D3E2EF-5F98-49EC-BCEA-B215D49920A3}"/>
            </ac:spMkLst>
          </pc:spChg>
          <pc:spChg chg="mod">
            <ac:chgData name="van Leeuwen  Sara (VPPL)" userId="7a5f1df4-0dd0-4c9e-a72f-a035cf318af6" providerId="ADAL" clId="{AAA37DE2-93D3-44F8-BE87-C19EC6771CD3}" dt="2023-09-21T07:58:44.172" v="4866" actId="790"/>
            <ac:spMkLst>
              <pc:docMk/>
              <pc:sldMasterMk cId="409606273" sldId="2147483648"/>
              <pc:sldLayoutMk cId="1085750778" sldId="2147483661"/>
              <ac:spMk id="4" creationId="{67DB21BA-81C0-43DB-A42C-5F672DBC37F2}"/>
            </ac:spMkLst>
          </pc:spChg>
          <pc:spChg chg="mod">
            <ac:chgData name="van Leeuwen  Sara (VPPL)" userId="7a5f1df4-0dd0-4c9e-a72f-a035cf318af6" providerId="ADAL" clId="{AAA37DE2-93D3-44F8-BE87-C19EC6771CD3}" dt="2023-09-21T08:01:07.448" v="12685" actId="790"/>
            <ac:spMkLst>
              <pc:docMk/>
              <pc:sldMasterMk cId="409606273" sldId="2147483648"/>
              <pc:sldLayoutMk cId="1085750778" sldId="2147483661"/>
              <ac:spMk id="5" creationId="{1BC78786-28C3-4EAB-A3FC-1A4BFA8447EC}"/>
            </ac:spMkLst>
          </pc:spChg>
          <pc:spChg chg="mod">
            <ac:chgData name="van Leeuwen  Sara (VPPL)" userId="7a5f1df4-0dd0-4c9e-a72f-a035cf318af6" providerId="ADAL" clId="{AAA37DE2-93D3-44F8-BE87-C19EC6771CD3}" dt="2023-09-21T07:58:44.172" v="4868" actId="790"/>
            <ac:spMkLst>
              <pc:docMk/>
              <pc:sldMasterMk cId="409606273" sldId="2147483648"/>
              <pc:sldLayoutMk cId="1085750778" sldId="2147483661"/>
              <ac:spMk id="6" creationId="{0FC1D5C1-A4AD-42D4-93B7-D3B71140E3A1}"/>
            </ac:spMkLst>
          </pc:spChg>
          <pc:spChg chg="add del mod modVis">
            <ac:chgData name="van Leeuwen  Sara (VPPL)" userId="7a5f1df4-0dd0-4c9e-a72f-a035cf318af6" providerId="ADAL" clId="{AAA37DE2-93D3-44F8-BE87-C19EC6771CD3}" dt="2023-09-21T08:01:08.125" v="15256" actId="478"/>
            <ac:spMkLst>
              <pc:docMk/>
              <pc:sldMasterMk cId="409606273" sldId="2147483648"/>
              <pc:sldLayoutMk cId="1085750778" sldId="2147483661"/>
              <ac:spMk id="8" creationId="{2BEFCF02-F194-9CD5-AC93-82645AE2B875}"/>
            </ac:spMkLst>
          </pc:spChg>
          <pc:spChg chg="mod">
            <ac:chgData name="van Leeuwen  Sara (VPPL)" userId="7a5f1df4-0dd0-4c9e-a72f-a035cf318af6" providerId="ADAL" clId="{AAA37DE2-93D3-44F8-BE87-C19EC6771CD3}" dt="2023-09-21T07:58:44.172" v="4870" actId="790"/>
            <ac:spMkLst>
              <pc:docMk/>
              <pc:sldMasterMk cId="409606273" sldId="2147483648"/>
              <pc:sldLayoutMk cId="1085750778" sldId="2147483661"/>
              <ac:spMk id="9" creationId="{1AAB6914-2518-430D-BF4C-14EA51B61410}"/>
            </ac:spMkLst>
          </pc:spChg>
          <pc:spChg chg="mod">
            <ac:chgData name="van Leeuwen  Sara (VPPL)" userId="7a5f1df4-0dd0-4c9e-a72f-a035cf318af6" providerId="ADAL" clId="{AAA37DE2-93D3-44F8-BE87-C19EC6771CD3}" dt="2023-09-21T07:58:44.172" v="4869" actId="790"/>
            <ac:spMkLst>
              <pc:docMk/>
              <pc:sldMasterMk cId="409606273" sldId="2147483648"/>
              <pc:sldLayoutMk cId="1085750778" sldId="2147483661"/>
              <ac:spMk id="11" creationId="{221A3BAE-B19D-4390-B4A5-2C8A2CC87C59}"/>
            </ac:spMkLst>
          </pc:spChg>
          <pc:spChg chg="mod">
            <ac:chgData name="van Leeuwen  Sara (VPPL)" userId="7a5f1df4-0dd0-4c9e-a72f-a035cf318af6" providerId="ADAL" clId="{AAA37DE2-93D3-44F8-BE87-C19EC6771CD3}" dt="2023-09-21T07:58:44.188" v="4871" actId="790"/>
            <ac:spMkLst>
              <pc:docMk/>
              <pc:sldMasterMk cId="409606273" sldId="2147483648"/>
              <pc:sldLayoutMk cId="1085750778" sldId="2147483661"/>
              <ac:spMk id="12" creationId="{5092EEFB-079B-4C38-A665-E52B9837601B}"/>
            </ac:spMkLst>
          </pc:spChg>
          <pc:graphicFrameChg chg="mod">
            <ac:chgData name="van Leeuwen  Sara (VPPL)" userId="7a5f1df4-0dd0-4c9e-a72f-a035cf318af6" providerId="ADAL" clId="{AAA37DE2-93D3-44F8-BE87-C19EC6771CD3}" dt="2023-09-21T08:01:08.172" v="15346"/>
            <ac:graphicFrameMkLst>
              <pc:docMk/>
              <pc:sldMasterMk cId="409606273" sldId="2147483648"/>
              <pc:sldLayoutMk cId="1085750778" sldId="2147483661"/>
              <ac:graphicFrameMk id="10" creationId="{16902D4C-3B7E-C061-F232-B93DFD8CDC0E}"/>
            </ac:graphicFrameMkLst>
          </pc:graphicFrameChg>
        </pc:sldLayoutChg>
        <pc:sldLayoutChg chg="addSp delSp modSp mod">
          <pc:chgData name="van Leeuwen  Sara (VPPL)" userId="7a5f1df4-0dd0-4c9e-a72f-a035cf318af6" providerId="ADAL" clId="{AAA37DE2-93D3-44F8-BE87-C19EC6771CD3}" dt="2023-09-21T08:01:08.188" v="15350"/>
          <pc:sldLayoutMkLst>
            <pc:docMk/>
            <pc:sldMasterMk cId="409606273" sldId="2147483648"/>
            <pc:sldLayoutMk cId="2252988954" sldId="2147483662"/>
          </pc:sldLayoutMkLst>
          <pc:spChg chg="mod">
            <ac:chgData name="van Leeuwen  Sara (VPPL)" userId="7a5f1df4-0dd0-4c9e-a72f-a035cf318af6" providerId="ADAL" clId="{AAA37DE2-93D3-44F8-BE87-C19EC6771CD3}" dt="2023-09-21T08:01:07.795" v="13939" actId="948"/>
            <ac:spMkLst>
              <pc:docMk/>
              <pc:sldMasterMk cId="409606273" sldId="2147483648"/>
              <pc:sldLayoutMk cId="2252988954" sldId="2147483662"/>
              <ac:spMk id="2" creationId="{3346F7F9-CBC8-4641-B12B-7E76FD213E12}"/>
            </ac:spMkLst>
          </pc:spChg>
          <pc:spChg chg="mod">
            <ac:chgData name="van Leeuwen  Sara (VPPL)" userId="7a5f1df4-0dd0-4c9e-a72f-a035cf318af6" providerId="ADAL" clId="{AAA37DE2-93D3-44F8-BE87-C19EC6771CD3}" dt="2023-09-21T07:58:44.188" v="4873" actId="790"/>
            <ac:spMkLst>
              <pc:docMk/>
              <pc:sldMasterMk cId="409606273" sldId="2147483648"/>
              <pc:sldLayoutMk cId="2252988954" sldId="2147483662"/>
              <ac:spMk id="3" creationId="{87D3E2EF-5F98-49EC-BCEA-B215D49920A3}"/>
            </ac:spMkLst>
          </pc:spChg>
          <pc:spChg chg="mod">
            <ac:chgData name="van Leeuwen  Sara (VPPL)" userId="7a5f1df4-0dd0-4c9e-a72f-a035cf318af6" providerId="ADAL" clId="{AAA37DE2-93D3-44F8-BE87-C19EC6771CD3}" dt="2023-09-21T07:58:44.188" v="4874" actId="790"/>
            <ac:spMkLst>
              <pc:docMk/>
              <pc:sldMasterMk cId="409606273" sldId="2147483648"/>
              <pc:sldLayoutMk cId="2252988954" sldId="2147483662"/>
              <ac:spMk id="4" creationId="{67DB21BA-81C0-43DB-A42C-5F672DBC37F2}"/>
            </ac:spMkLst>
          </pc:spChg>
          <pc:spChg chg="mod">
            <ac:chgData name="van Leeuwen  Sara (VPPL)" userId="7a5f1df4-0dd0-4c9e-a72f-a035cf318af6" providerId="ADAL" clId="{AAA37DE2-93D3-44F8-BE87-C19EC6771CD3}" dt="2023-09-21T08:01:07.448" v="12693" actId="790"/>
            <ac:spMkLst>
              <pc:docMk/>
              <pc:sldMasterMk cId="409606273" sldId="2147483648"/>
              <pc:sldLayoutMk cId="2252988954" sldId="2147483662"/>
              <ac:spMk id="5" creationId="{1BC78786-28C3-4EAB-A3FC-1A4BFA8447EC}"/>
            </ac:spMkLst>
          </pc:spChg>
          <pc:spChg chg="mod">
            <ac:chgData name="van Leeuwen  Sara (VPPL)" userId="7a5f1df4-0dd0-4c9e-a72f-a035cf318af6" providerId="ADAL" clId="{AAA37DE2-93D3-44F8-BE87-C19EC6771CD3}" dt="2023-09-21T07:58:44.204" v="4876" actId="790"/>
            <ac:spMkLst>
              <pc:docMk/>
              <pc:sldMasterMk cId="409606273" sldId="2147483648"/>
              <pc:sldLayoutMk cId="2252988954" sldId="2147483662"/>
              <ac:spMk id="6" creationId="{0FC1D5C1-A4AD-42D4-93B7-D3B71140E3A1}"/>
            </ac:spMkLst>
          </pc:spChg>
          <pc:spChg chg="add del mod modVis">
            <ac:chgData name="van Leeuwen  Sara (VPPL)" userId="7a5f1df4-0dd0-4c9e-a72f-a035cf318af6" providerId="ADAL" clId="{AAA37DE2-93D3-44F8-BE87-C19EC6771CD3}" dt="2023-09-21T08:01:08.125" v="15260" actId="478"/>
            <ac:spMkLst>
              <pc:docMk/>
              <pc:sldMasterMk cId="409606273" sldId="2147483648"/>
              <pc:sldLayoutMk cId="2252988954" sldId="2147483662"/>
              <ac:spMk id="8" creationId="{C1D0DF75-2D91-8D8C-871B-6E1CBF5B8321}"/>
            </ac:spMkLst>
          </pc:spChg>
          <pc:spChg chg="mod">
            <ac:chgData name="van Leeuwen  Sara (VPPL)" userId="7a5f1df4-0dd0-4c9e-a72f-a035cf318af6" providerId="ADAL" clId="{AAA37DE2-93D3-44F8-BE87-C19EC6771CD3}" dt="2023-09-21T07:58:44.204" v="4877" actId="790"/>
            <ac:spMkLst>
              <pc:docMk/>
              <pc:sldMasterMk cId="409606273" sldId="2147483648"/>
              <pc:sldLayoutMk cId="2252988954" sldId="2147483662"/>
              <ac:spMk id="11" creationId="{221A3BAE-B19D-4390-B4A5-2C8A2CC87C59}"/>
            </ac:spMkLst>
          </pc:spChg>
          <pc:spChg chg="mod">
            <ac:chgData name="van Leeuwen  Sara (VPPL)" userId="7a5f1df4-0dd0-4c9e-a72f-a035cf318af6" providerId="ADAL" clId="{AAA37DE2-93D3-44F8-BE87-C19EC6771CD3}" dt="2023-09-21T07:58:44.204" v="4878" actId="790"/>
            <ac:spMkLst>
              <pc:docMk/>
              <pc:sldMasterMk cId="409606273" sldId="2147483648"/>
              <pc:sldLayoutMk cId="2252988954" sldId="2147483662"/>
              <ac:spMk id="13" creationId="{36793346-BF6B-42A8-ADE0-3AA3DC3B239A}"/>
            </ac:spMkLst>
          </pc:spChg>
          <pc:spChg chg="mod">
            <ac:chgData name="van Leeuwen  Sara (VPPL)" userId="7a5f1df4-0dd0-4c9e-a72f-a035cf318af6" providerId="ADAL" clId="{AAA37DE2-93D3-44F8-BE87-C19EC6771CD3}" dt="2023-09-21T07:58:44.204" v="4879" actId="790"/>
            <ac:spMkLst>
              <pc:docMk/>
              <pc:sldMasterMk cId="409606273" sldId="2147483648"/>
              <pc:sldLayoutMk cId="2252988954" sldId="2147483662"/>
              <ac:spMk id="14" creationId="{FE637F68-618E-43EB-B240-4BFA26852FC5}"/>
            </ac:spMkLst>
          </pc:spChg>
          <pc:graphicFrameChg chg="mod">
            <ac:chgData name="van Leeuwen  Sara (VPPL)" userId="7a5f1df4-0dd0-4c9e-a72f-a035cf318af6" providerId="ADAL" clId="{AAA37DE2-93D3-44F8-BE87-C19EC6771CD3}" dt="2023-09-21T08:01:08.188" v="15350"/>
            <ac:graphicFrameMkLst>
              <pc:docMk/>
              <pc:sldMasterMk cId="409606273" sldId="2147483648"/>
              <pc:sldLayoutMk cId="2252988954" sldId="2147483662"/>
              <ac:graphicFrameMk id="9" creationId="{FF89BBAB-A540-86A1-8FF5-EDD8BE453BEF}"/>
            </ac:graphicFrameMkLst>
          </pc:graphicFrameChg>
        </pc:sldLayoutChg>
        <pc:sldLayoutChg chg="addSp delSp modSp mod">
          <pc:chgData name="van Leeuwen  Sara (VPPL)" userId="7a5f1df4-0dd0-4c9e-a72f-a035cf318af6" providerId="ADAL" clId="{AAA37DE2-93D3-44F8-BE87-C19EC6771CD3}" dt="2023-09-21T08:01:08.188" v="15352"/>
          <pc:sldLayoutMkLst>
            <pc:docMk/>
            <pc:sldMasterMk cId="409606273" sldId="2147483648"/>
            <pc:sldLayoutMk cId="2928661315" sldId="2147483663"/>
          </pc:sldLayoutMkLst>
          <pc:spChg chg="mod">
            <ac:chgData name="van Leeuwen  Sara (VPPL)" userId="7a5f1df4-0dd0-4c9e-a72f-a035cf318af6" providerId="ADAL" clId="{AAA37DE2-93D3-44F8-BE87-C19EC6771CD3}" dt="2023-09-21T08:01:07.795" v="13975" actId="948"/>
            <ac:spMkLst>
              <pc:docMk/>
              <pc:sldMasterMk cId="409606273" sldId="2147483648"/>
              <pc:sldLayoutMk cId="2928661315" sldId="2147483663"/>
              <ac:spMk id="2" creationId="{3346F7F9-CBC8-4641-B12B-7E76FD213E12}"/>
            </ac:spMkLst>
          </pc:spChg>
          <pc:spChg chg="mod">
            <ac:chgData name="van Leeuwen  Sara (VPPL)" userId="7a5f1df4-0dd0-4c9e-a72f-a035cf318af6" providerId="ADAL" clId="{AAA37DE2-93D3-44F8-BE87-C19EC6771CD3}" dt="2023-09-21T07:58:44.219" v="4881" actId="790"/>
            <ac:spMkLst>
              <pc:docMk/>
              <pc:sldMasterMk cId="409606273" sldId="2147483648"/>
              <pc:sldLayoutMk cId="2928661315" sldId="2147483663"/>
              <ac:spMk id="3" creationId="{87D3E2EF-5F98-49EC-BCEA-B215D49920A3}"/>
            </ac:spMkLst>
          </pc:spChg>
          <pc:spChg chg="mod">
            <ac:chgData name="van Leeuwen  Sara (VPPL)" userId="7a5f1df4-0dd0-4c9e-a72f-a035cf318af6" providerId="ADAL" clId="{AAA37DE2-93D3-44F8-BE87-C19EC6771CD3}" dt="2023-09-21T07:58:44.219" v="4882" actId="790"/>
            <ac:spMkLst>
              <pc:docMk/>
              <pc:sldMasterMk cId="409606273" sldId="2147483648"/>
              <pc:sldLayoutMk cId="2928661315" sldId="2147483663"/>
              <ac:spMk id="4" creationId="{67DB21BA-81C0-43DB-A42C-5F672DBC37F2}"/>
            </ac:spMkLst>
          </pc:spChg>
          <pc:spChg chg="mod">
            <ac:chgData name="van Leeuwen  Sara (VPPL)" userId="7a5f1df4-0dd0-4c9e-a72f-a035cf318af6" providerId="ADAL" clId="{AAA37DE2-93D3-44F8-BE87-C19EC6771CD3}" dt="2023-09-21T08:01:07.448" v="12701" actId="790"/>
            <ac:spMkLst>
              <pc:docMk/>
              <pc:sldMasterMk cId="409606273" sldId="2147483648"/>
              <pc:sldLayoutMk cId="2928661315" sldId="2147483663"/>
              <ac:spMk id="5" creationId="{1BC78786-28C3-4EAB-A3FC-1A4BFA8447EC}"/>
            </ac:spMkLst>
          </pc:spChg>
          <pc:spChg chg="mod">
            <ac:chgData name="van Leeuwen  Sara (VPPL)" userId="7a5f1df4-0dd0-4c9e-a72f-a035cf318af6" providerId="ADAL" clId="{AAA37DE2-93D3-44F8-BE87-C19EC6771CD3}" dt="2023-09-21T07:58:44.219" v="4884" actId="790"/>
            <ac:spMkLst>
              <pc:docMk/>
              <pc:sldMasterMk cId="409606273" sldId="2147483648"/>
              <pc:sldLayoutMk cId="2928661315" sldId="2147483663"/>
              <ac:spMk id="6" creationId="{0FC1D5C1-A4AD-42D4-93B7-D3B71140E3A1}"/>
            </ac:spMkLst>
          </pc:spChg>
          <pc:spChg chg="add del mod modVis">
            <ac:chgData name="van Leeuwen  Sara (VPPL)" userId="7a5f1df4-0dd0-4c9e-a72f-a035cf318af6" providerId="ADAL" clId="{AAA37DE2-93D3-44F8-BE87-C19EC6771CD3}" dt="2023-09-21T08:01:08.125" v="15262" actId="478"/>
            <ac:spMkLst>
              <pc:docMk/>
              <pc:sldMasterMk cId="409606273" sldId="2147483648"/>
              <pc:sldLayoutMk cId="2928661315" sldId="2147483663"/>
              <ac:spMk id="8" creationId="{2330EC06-C6DC-F5CD-5236-136778B40557}"/>
            </ac:spMkLst>
          </pc:spChg>
          <pc:spChg chg="mod">
            <ac:chgData name="van Leeuwen  Sara (VPPL)" userId="7a5f1df4-0dd0-4c9e-a72f-a035cf318af6" providerId="ADAL" clId="{AAA37DE2-93D3-44F8-BE87-C19EC6771CD3}" dt="2023-09-21T07:58:44.219" v="4885" actId="790"/>
            <ac:spMkLst>
              <pc:docMk/>
              <pc:sldMasterMk cId="409606273" sldId="2147483648"/>
              <pc:sldLayoutMk cId="2928661315" sldId="2147483663"/>
              <ac:spMk id="9" creationId="{A1D947E6-CC00-458E-BDE1-B0877E30333C}"/>
            </ac:spMkLst>
          </pc:spChg>
          <pc:graphicFrameChg chg="mod">
            <ac:chgData name="van Leeuwen  Sara (VPPL)" userId="7a5f1df4-0dd0-4c9e-a72f-a035cf318af6" providerId="ADAL" clId="{AAA37DE2-93D3-44F8-BE87-C19EC6771CD3}" dt="2023-09-21T08:01:08.188" v="15352"/>
            <ac:graphicFrameMkLst>
              <pc:docMk/>
              <pc:sldMasterMk cId="409606273" sldId="2147483648"/>
              <pc:sldLayoutMk cId="2928661315" sldId="2147483663"/>
              <ac:graphicFrameMk id="10" creationId="{43F0FDB3-92ED-A659-5296-69686EC3DDE3}"/>
            </ac:graphicFrameMkLst>
          </pc:graphicFrameChg>
        </pc:sldLayoutChg>
        <pc:sldLayoutChg chg="modSp mod">
          <pc:chgData name="van Leeuwen  Sara (VPPL)" userId="7a5f1df4-0dd0-4c9e-a72f-a035cf318af6" providerId="ADAL" clId="{AAA37DE2-93D3-44F8-BE87-C19EC6771CD3}" dt="2023-09-21T08:01:08.203" v="15360"/>
          <pc:sldLayoutMkLst>
            <pc:docMk/>
            <pc:sldMasterMk cId="409606273" sldId="2147483648"/>
            <pc:sldLayoutMk cId="1752670339" sldId="2147483664"/>
          </pc:sldLayoutMkLst>
          <pc:spChg chg="mod">
            <ac:chgData name="van Leeuwen  Sara (VPPL)" userId="7a5f1df4-0dd0-4c9e-a72f-a035cf318af6" providerId="ADAL" clId="{AAA37DE2-93D3-44F8-BE87-C19EC6771CD3}" dt="2023-09-21T07:58:44.219" v="4886" actId="790"/>
            <ac:spMkLst>
              <pc:docMk/>
              <pc:sldMasterMk cId="409606273" sldId="2147483648"/>
              <pc:sldLayoutMk cId="1752670339" sldId="2147483664"/>
              <ac:spMk id="20" creationId="{394B20FF-3667-40DF-92A1-C6CF3BBCA26D}"/>
            </ac:spMkLst>
          </pc:spChg>
          <pc:spChg chg="mod">
            <ac:chgData name="van Leeuwen  Sara (VPPL)" userId="7a5f1df4-0dd0-4c9e-a72f-a035cf318af6" providerId="ADAL" clId="{AAA37DE2-93D3-44F8-BE87-C19EC6771CD3}" dt="2023-09-21T07:58:44.219" v="4887" actId="790"/>
            <ac:spMkLst>
              <pc:docMk/>
              <pc:sldMasterMk cId="409606273" sldId="2147483648"/>
              <pc:sldLayoutMk cId="1752670339" sldId="2147483664"/>
              <ac:spMk id="21" creationId="{794484F1-3B7F-46CE-AD0B-2310A557A990}"/>
            </ac:spMkLst>
          </pc:spChg>
          <pc:graphicFrameChg chg="mod">
            <ac:chgData name="van Leeuwen  Sara (VPPL)" userId="7a5f1df4-0dd0-4c9e-a72f-a035cf318af6" providerId="ADAL" clId="{AAA37DE2-93D3-44F8-BE87-C19EC6771CD3}" dt="2023-09-21T08:01:08.203" v="15360"/>
            <ac:graphicFrameMkLst>
              <pc:docMk/>
              <pc:sldMasterMk cId="409606273" sldId="2147483648"/>
              <pc:sldLayoutMk cId="1752670339" sldId="2147483664"/>
              <ac:graphicFrameMk id="2" creationId="{A9527B25-39A7-5858-EADB-9AAB59EBF5E8}"/>
            </ac:graphicFrameMkLst>
          </pc:graphicFrameChg>
        </pc:sldLayoutChg>
        <pc:sldLayoutChg chg="addSp delSp modSp mod">
          <pc:chgData name="van Leeuwen  Sara (VPPL)" userId="7a5f1df4-0dd0-4c9e-a72f-a035cf318af6" providerId="ADAL" clId="{AAA37DE2-93D3-44F8-BE87-C19EC6771CD3}" dt="2023-09-21T08:01:08.188" v="15356"/>
          <pc:sldLayoutMkLst>
            <pc:docMk/>
            <pc:sldMasterMk cId="409606273" sldId="2147483648"/>
            <pc:sldLayoutMk cId="691335200" sldId="2147483665"/>
          </pc:sldLayoutMkLst>
          <pc:spChg chg="mod">
            <ac:chgData name="van Leeuwen  Sara (VPPL)" userId="7a5f1df4-0dd0-4c9e-a72f-a035cf318af6" providerId="ADAL" clId="{AAA37DE2-93D3-44F8-BE87-C19EC6771CD3}" dt="2023-09-21T08:01:07.815" v="14011" actId="948"/>
            <ac:spMkLst>
              <pc:docMk/>
              <pc:sldMasterMk cId="409606273" sldId="2147483648"/>
              <pc:sldLayoutMk cId="691335200" sldId="2147483665"/>
              <ac:spMk id="2" creationId="{00000000-0000-0000-0000-000000000000}"/>
            </ac:spMkLst>
          </pc:spChg>
          <pc:spChg chg="mod">
            <ac:chgData name="van Leeuwen  Sara (VPPL)" userId="7a5f1df4-0dd0-4c9e-a72f-a035cf318af6" providerId="ADAL" clId="{AAA37DE2-93D3-44F8-BE87-C19EC6771CD3}" dt="2023-09-21T07:58:44.240" v="4889" actId="790"/>
            <ac:spMkLst>
              <pc:docMk/>
              <pc:sldMasterMk cId="409606273" sldId="2147483648"/>
              <pc:sldLayoutMk cId="691335200" sldId="2147483665"/>
              <ac:spMk id="3" creationId="{00000000-0000-0000-0000-000000000000}"/>
            </ac:spMkLst>
          </pc:spChg>
          <pc:spChg chg="mod">
            <ac:chgData name="van Leeuwen  Sara (VPPL)" userId="7a5f1df4-0dd0-4c9e-a72f-a035cf318af6" providerId="ADAL" clId="{AAA37DE2-93D3-44F8-BE87-C19EC6771CD3}" dt="2023-09-21T08:01:07.464" v="12708" actId="790"/>
            <ac:spMkLst>
              <pc:docMk/>
              <pc:sldMasterMk cId="409606273" sldId="2147483648"/>
              <pc:sldLayoutMk cId="691335200" sldId="2147483665"/>
              <ac:spMk id="4" creationId="{00000000-0000-0000-0000-000000000000}"/>
            </ac:spMkLst>
          </pc:spChg>
          <pc:spChg chg="mod">
            <ac:chgData name="van Leeuwen  Sara (VPPL)" userId="7a5f1df4-0dd0-4c9e-a72f-a035cf318af6" providerId="ADAL" clId="{AAA37DE2-93D3-44F8-BE87-C19EC6771CD3}" dt="2023-09-21T07:58:44.240" v="4891" actId="790"/>
            <ac:spMkLst>
              <pc:docMk/>
              <pc:sldMasterMk cId="409606273" sldId="2147483648"/>
              <pc:sldLayoutMk cId="691335200" sldId="2147483665"/>
              <ac:spMk id="5" creationId="{00000000-0000-0000-0000-000000000000}"/>
            </ac:spMkLst>
          </pc:spChg>
          <pc:spChg chg="add del mod modVis">
            <ac:chgData name="van Leeuwen  Sara (VPPL)" userId="7a5f1df4-0dd0-4c9e-a72f-a035cf318af6" providerId="ADAL" clId="{AAA37DE2-93D3-44F8-BE87-C19EC6771CD3}" dt="2023-09-21T08:01:08.125" v="15264" actId="478"/>
            <ac:spMkLst>
              <pc:docMk/>
              <pc:sldMasterMk cId="409606273" sldId="2147483648"/>
              <pc:sldLayoutMk cId="691335200" sldId="2147483665"/>
              <ac:spMk id="6" creationId="{E0F3B87D-4108-B3B0-6F7B-089151E44113}"/>
            </ac:spMkLst>
          </pc:spChg>
          <pc:graphicFrameChg chg="mod">
            <ac:chgData name="van Leeuwen  Sara (VPPL)" userId="7a5f1df4-0dd0-4c9e-a72f-a035cf318af6" providerId="ADAL" clId="{AAA37DE2-93D3-44F8-BE87-C19EC6771CD3}" dt="2023-09-21T08:01:08.188" v="15356"/>
            <ac:graphicFrameMkLst>
              <pc:docMk/>
              <pc:sldMasterMk cId="409606273" sldId="2147483648"/>
              <pc:sldLayoutMk cId="691335200" sldId="2147483665"/>
              <ac:graphicFrameMk id="7" creationId="{25D4132F-BCC7-1A1C-1204-1C854A1D631B}"/>
            </ac:graphicFrameMkLst>
          </pc:graphicFrameChg>
        </pc:sldLayoutChg>
        <pc:sldLayoutChg chg="addSp delSp modSp mod">
          <pc:chgData name="van Leeuwen  Sara (VPPL)" userId="7a5f1df4-0dd0-4c9e-a72f-a035cf318af6" providerId="ADAL" clId="{AAA37DE2-93D3-44F8-BE87-C19EC6771CD3}" dt="2023-09-21T08:01:08.156" v="15340"/>
          <pc:sldLayoutMkLst>
            <pc:docMk/>
            <pc:sldMasterMk cId="409606273" sldId="2147483648"/>
            <pc:sldLayoutMk cId="39068553" sldId="2147483666"/>
          </pc:sldLayoutMkLst>
          <pc:spChg chg="mod">
            <ac:chgData name="van Leeuwen  Sara (VPPL)" userId="7a5f1df4-0dd0-4c9e-a72f-a035cf318af6" providerId="ADAL" clId="{AAA37DE2-93D3-44F8-BE87-C19EC6771CD3}" dt="2023-09-21T08:01:07.574" v="13111" actId="948"/>
            <ac:spMkLst>
              <pc:docMk/>
              <pc:sldMasterMk cId="409606273" sldId="2147483648"/>
              <pc:sldLayoutMk cId="39068553" sldId="2147483666"/>
              <ac:spMk id="2" creationId="{00000000-0000-0000-0000-000000000000}"/>
            </ac:spMkLst>
          </pc:spChg>
          <pc:spChg chg="mod">
            <ac:chgData name="van Leeuwen  Sara (VPPL)" userId="7a5f1df4-0dd0-4c9e-a72f-a035cf318af6" providerId="ADAL" clId="{AAA37DE2-93D3-44F8-BE87-C19EC6771CD3}" dt="2023-09-21T07:58:44.251" v="4893" actId="790"/>
            <ac:spMkLst>
              <pc:docMk/>
              <pc:sldMasterMk cId="409606273" sldId="2147483648"/>
              <pc:sldLayoutMk cId="39068553" sldId="2147483666"/>
              <ac:spMk id="3" creationId="{00000000-0000-0000-0000-000000000000}"/>
            </ac:spMkLst>
          </pc:spChg>
          <pc:spChg chg="mod">
            <ac:chgData name="van Leeuwen  Sara (VPPL)" userId="7a5f1df4-0dd0-4c9e-a72f-a035cf318af6" providerId="ADAL" clId="{AAA37DE2-93D3-44F8-BE87-C19EC6771CD3}" dt="2023-09-21T07:58:44.251" v="4894" actId="790"/>
            <ac:spMkLst>
              <pc:docMk/>
              <pc:sldMasterMk cId="409606273" sldId="2147483648"/>
              <pc:sldLayoutMk cId="39068553" sldId="2147483666"/>
              <ac:spMk id="4" creationId="{00000000-0000-0000-0000-000000000000}"/>
            </ac:spMkLst>
          </pc:spChg>
          <pc:spChg chg="mod">
            <ac:chgData name="van Leeuwen  Sara (VPPL)" userId="7a5f1df4-0dd0-4c9e-a72f-a035cf318af6" providerId="ADAL" clId="{AAA37DE2-93D3-44F8-BE87-C19EC6771CD3}" dt="2023-09-21T08:01:07.464" v="12713" actId="790"/>
            <ac:spMkLst>
              <pc:docMk/>
              <pc:sldMasterMk cId="409606273" sldId="2147483648"/>
              <pc:sldLayoutMk cId="39068553" sldId="2147483666"/>
              <ac:spMk id="5" creationId="{00000000-0000-0000-0000-000000000000}"/>
            </ac:spMkLst>
          </pc:spChg>
          <pc:spChg chg="mod">
            <ac:chgData name="van Leeuwen  Sara (VPPL)" userId="7a5f1df4-0dd0-4c9e-a72f-a035cf318af6" providerId="ADAL" clId="{AAA37DE2-93D3-44F8-BE87-C19EC6771CD3}" dt="2023-09-21T07:58:44.251" v="4896" actId="790"/>
            <ac:spMkLst>
              <pc:docMk/>
              <pc:sldMasterMk cId="409606273" sldId="2147483648"/>
              <pc:sldLayoutMk cId="39068553" sldId="2147483666"/>
              <ac:spMk id="6" creationId="{00000000-0000-0000-0000-000000000000}"/>
            </ac:spMkLst>
          </pc:spChg>
          <pc:spChg chg="add del mod modVis">
            <ac:chgData name="van Leeuwen  Sara (VPPL)" userId="7a5f1df4-0dd0-4c9e-a72f-a035cf318af6" providerId="ADAL" clId="{AAA37DE2-93D3-44F8-BE87-C19EC6771CD3}" dt="2023-09-21T08:01:08.115" v="15213" actId="478"/>
            <ac:spMkLst>
              <pc:docMk/>
              <pc:sldMasterMk cId="409606273" sldId="2147483648"/>
              <pc:sldLayoutMk cId="39068553" sldId="2147483666"/>
              <ac:spMk id="7" creationId="{206866A0-0A53-81D1-DFA7-AC6A9F2AD697}"/>
            </ac:spMkLst>
          </pc:spChg>
          <pc:graphicFrameChg chg="mod">
            <ac:chgData name="van Leeuwen  Sara (VPPL)" userId="7a5f1df4-0dd0-4c9e-a72f-a035cf318af6" providerId="ADAL" clId="{AAA37DE2-93D3-44F8-BE87-C19EC6771CD3}" dt="2023-09-21T08:01:08.156" v="15340"/>
            <ac:graphicFrameMkLst>
              <pc:docMk/>
              <pc:sldMasterMk cId="409606273" sldId="2147483648"/>
              <pc:sldLayoutMk cId="39068553" sldId="2147483666"/>
              <ac:graphicFrameMk id="8" creationId="{C4856E5D-F9B6-EF77-BCBB-C20C08EA7F74}"/>
            </ac:graphicFrameMkLst>
          </pc:graphicFrameChg>
        </pc:sldLayoutChg>
        <pc:sldLayoutChg chg="addSp delSp modSp mod">
          <pc:chgData name="van Leeuwen  Sara (VPPL)" userId="7a5f1df4-0dd0-4c9e-a72f-a035cf318af6" providerId="ADAL" clId="{AAA37DE2-93D3-44F8-BE87-C19EC6771CD3}" dt="2023-09-21T08:01:08.282" v="15400"/>
          <pc:sldLayoutMkLst>
            <pc:docMk/>
            <pc:sldMasterMk cId="409606273" sldId="2147483648"/>
            <pc:sldLayoutMk cId="2533257179" sldId="2147483668"/>
          </pc:sldLayoutMkLst>
          <pc:spChg chg="mod">
            <ac:chgData name="van Leeuwen  Sara (VPPL)" userId="7a5f1df4-0dd0-4c9e-a72f-a035cf318af6" providerId="ADAL" clId="{AAA37DE2-93D3-44F8-BE87-C19EC6771CD3}" dt="2023-09-21T08:01:07.968" v="14551" actId="948"/>
            <ac:spMkLst>
              <pc:docMk/>
              <pc:sldMasterMk cId="409606273" sldId="2147483648"/>
              <pc:sldLayoutMk cId="2533257179" sldId="2147483668"/>
              <ac:spMk id="2" creationId="{3346F7F9-CBC8-4641-B12B-7E76FD213E12}"/>
            </ac:spMkLst>
          </pc:spChg>
          <pc:spChg chg="mod">
            <ac:chgData name="van Leeuwen  Sara (VPPL)" userId="7a5f1df4-0dd0-4c9e-a72f-a035cf318af6" providerId="ADAL" clId="{AAA37DE2-93D3-44F8-BE87-C19EC6771CD3}" dt="2023-09-21T07:58:44.340" v="4925" actId="790"/>
            <ac:spMkLst>
              <pc:docMk/>
              <pc:sldMasterMk cId="409606273" sldId="2147483648"/>
              <pc:sldLayoutMk cId="2533257179" sldId="2147483668"/>
              <ac:spMk id="3" creationId="{87D3E2EF-5F98-49EC-BCEA-B215D49920A3}"/>
            </ac:spMkLst>
          </pc:spChg>
          <pc:spChg chg="mod">
            <ac:chgData name="van Leeuwen  Sara (VPPL)" userId="7a5f1df4-0dd0-4c9e-a72f-a035cf318af6" providerId="ADAL" clId="{AAA37DE2-93D3-44F8-BE87-C19EC6771CD3}" dt="2023-09-21T07:58:44.340" v="4926" actId="790"/>
            <ac:spMkLst>
              <pc:docMk/>
              <pc:sldMasterMk cId="409606273" sldId="2147483648"/>
              <pc:sldLayoutMk cId="2533257179" sldId="2147483668"/>
              <ac:spMk id="4" creationId="{67DB21BA-81C0-43DB-A42C-5F672DBC37F2}"/>
            </ac:spMkLst>
          </pc:spChg>
          <pc:spChg chg="mod">
            <ac:chgData name="van Leeuwen  Sara (VPPL)" userId="7a5f1df4-0dd0-4c9e-a72f-a035cf318af6" providerId="ADAL" clId="{AAA37DE2-93D3-44F8-BE87-C19EC6771CD3}" dt="2023-09-21T08:01:07.479" v="12745" actId="790"/>
            <ac:spMkLst>
              <pc:docMk/>
              <pc:sldMasterMk cId="409606273" sldId="2147483648"/>
              <pc:sldLayoutMk cId="2533257179" sldId="2147483668"/>
              <ac:spMk id="5" creationId="{1BC78786-28C3-4EAB-A3FC-1A4BFA8447EC}"/>
            </ac:spMkLst>
          </pc:spChg>
          <pc:spChg chg="mod">
            <ac:chgData name="van Leeuwen  Sara (VPPL)" userId="7a5f1df4-0dd0-4c9e-a72f-a035cf318af6" providerId="ADAL" clId="{AAA37DE2-93D3-44F8-BE87-C19EC6771CD3}" dt="2023-09-21T07:58:44.340" v="4928" actId="790"/>
            <ac:spMkLst>
              <pc:docMk/>
              <pc:sldMasterMk cId="409606273" sldId="2147483648"/>
              <pc:sldLayoutMk cId="2533257179" sldId="2147483668"/>
              <ac:spMk id="6" creationId="{0FC1D5C1-A4AD-42D4-93B7-D3B71140E3A1}"/>
            </ac:spMkLst>
          </pc:spChg>
          <pc:spChg chg="add del mod modVis">
            <ac:chgData name="van Leeuwen  Sara (VPPL)" userId="7a5f1df4-0dd0-4c9e-a72f-a035cf318af6" providerId="ADAL" clId="{AAA37DE2-93D3-44F8-BE87-C19EC6771CD3}" dt="2023-09-21T08:01:08.141" v="15298" actId="478"/>
            <ac:spMkLst>
              <pc:docMk/>
              <pc:sldMasterMk cId="409606273" sldId="2147483648"/>
              <pc:sldLayoutMk cId="2533257179" sldId="2147483668"/>
              <ac:spMk id="8" creationId="{A62FB79D-9150-38AE-5980-97180AC68C91}"/>
            </ac:spMkLst>
          </pc:spChg>
          <pc:spChg chg="mod">
            <ac:chgData name="van Leeuwen  Sara (VPPL)" userId="7a5f1df4-0dd0-4c9e-a72f-a035cf318af6" providerId="ADAL" clId="{AAA37DE2-93D3-44F8-BE87-C19EC6771CD3}" dt="2023-09-21T07:58:44.346" v="4929" actId="790"/>
            <ac:spMkLst>
              <pc:docMk/>
              <pc:sldMasterMk cId="409606273" sldId="2147483648"/>
              <pc:sldLayoutMk cId="2533257179" sldId="2147483668"/>
              <ac:spMk id="11" creationId="{2F6D94FA-21C6-4AE0-AA4F-3A077810ED93}"/>
            </ac:spMkLst>
          </pc:spChg>
          <pc:graphicFrameChg chg="mod">
            <ac:chgData name="van Leeuwen  Sara (VPPL)" userId="7a5f1df4-0dd0-4c9e-a72f-a035cf318af6" providerId="ADAL" clId="{AAA37DE2-93D3-44F8-BE87-C19EC6771CD3}" dt="2023-09-21T08:01:08.282" v="15400"/>
            <ac:graphicFrameMkLst>
              <pc:docMk/>
              <pc:sldMasterMk cId="409606273" sldId="2147483648"/>
              <pc:sldLayoutMk cId="2533257179" sldId="2147483668"/>
              <ac:graphicFrameMk id="9" creationId="{00219EBA-1C80-A0E9-B24B-37885A5A8D20}"/>
            </ac:graphicFrameMkLst>
          </pc:graphicFrameChg>
        </pc:sldLayoutChg>
        <pc:sldLayoutChg chg="addSp delSp modSp mod">
          <pc:chgData name="van Leeuwen  Sara (VPPL)" userId="7a5f1df4-0dd0-4c9e-a72f-a035cf318af6" providerId="ADAL" clId="{AAA37DE2-93D3-44F8-BE87-C19EC6771CD3}" dt="2023-09-21T08:01:08.188" v="15354"/>
          <pc:sldLayoutMkLst>
            <pc:docMk/>
            <pc:sldMasterMk cId="409606273" sldId="2147483648"/>
            <pc:sldLayoutMk cId="251652625" sldId="2147483669"/>
          </pc:sldLayoutMkLst>
          <pc:spChg chg="mod">
            <ac:chgData name="van Leeuwen  Sara (VPPL)" userId="7a5f1df4-0dd0-4c9e-a72f-a035cf318af6" providerId="ADAL" clId="{AAA37DE2-93D3-44F8-BE87-C19EC6771CD3}" dt="2023-09-21T08:01:07.842" v="14155" actId="948"/>
            <ac:spMkLst>
              <pc:docMk/>
              <pc:sldMasterMk cId="409606273" sldId="2147483648"/>
              <pc:sldLayoutMk cId="251652625" sldId="2147483669"/>
              <ac:spMk id="2" creationId="{3346F7F9-CBC8-4641-B12B-7E76FD213E12}"/>
            </ac:spMkLst>
          </pc:spChg>
          <pc:spChg chg="add del mod modVis">
            <ac:chgData name="van Leeuwen  Sara (VPPL)" userId="7a5f1df4-0dd0-4c9e-a72f-a035cf318af6" providerId="ADAL" clId="{AAA37DE2-93D3-44F8-BE87-C19EC6771CD3}" dt="2023-09-21T08:01:08.125" v="15274" actId="478"/>
            <ac:spMkLst>
              <pc:docMk/>
              <pc:sldMasterMk cId="409606273" sldId="2147483648"/>
              <pc:sldLayoutMk cId="251652625" sldId="2147483669"/>
              <ac:spMk id="3" creationId="{FCB7B049-9FF7-0DCC-B62F-F338D240CF4C}"/>
            </ac:spMkLst>
          </pc:spChg>
          <pc:spChg chg="mod">
            <ac:chgData name="van Leeuwen  Sara (VPPL)" userId="7a5f1df4-0dd0-4c9e-a72f-a035cf318af6" providerId="ADAL" clId="{AAA37DE2-93D3-44F8-BE87-C19EC6771CD3}" dt="2023-09-21T07:58:44.346" v="4931" actId="790"/>
            <ac:spMkLst>
              <pc:docMk/>
              <pc:sldMasterMk cId="409606273" sldId="2147483648"/>
              <pc:sldLayoutMk cId="251652625" sldId="2147483669"/>
              <ac:spMk id="4" creationId="{67DB21BA-81C0-43DB-A42C-5F672DBC37F2}"/>
            </ac:spMkLst>
          </pc:spChg>
          <pc:spChg chg="mod">
            <ac:chgData name="van Leeuwen  Sara (VPPL)" userId="7a5f1df4-0dd0-4c9e-a72f-a035cf318af6" providerId="ADAL" clId="{AAA37DE2-93D3-44F8-BE87-C19EC6771CD3}" dt="2023-09-21T08:01:07.479" v="12750" actId="790"/>
            <ac:spMkLst>
              <pc:docMk/>
              <pc:sldMasterMk cId="409606273" sldId="2147483648"/>
              <pc:sldLayoutMk cId="251652625" sldId="2147483669"/>
              <ac:spMk id="5" creationId="{1BC78786-28C3-4EAB-A3FC-1A4BFA8447EC}"/>
            </ac:spMkLst>
          </pc:spChg>
          <pc:spChg chg="mod">
            <ac:chgData name="van Leeuwen  Sara (VPPL)" userId="7a5f1df4-0dd0-4c9e-a72f-a035cf318af6" providerId="ADAL" clId="{AAA37DE2-93D3-44F8-BE87-C19EC6771CD3}" dt="2023-09-21T07:58:44.346" v="4933" actId="790"/>
            <ac:spMkLst>
              <pc:docMk/>
              <pc:sldMasterMk cId="409606273" sldId="2147483648"/>
              <pc:sldLayoutMk cId="251652625" sldId="2147483669"/>
              <ac:spMk id="6" creationId="{0FC1D5C1-A4AD-42D4-93B7-D3B71140E3A1}"/>
            </ac:spMkLst>
          </pc:spChg>
          <pc:spChg chg="mod">
            <ac:chgData name="van Leeuwen  Sara (VPPL)" userId="7a5f1df4-0dd0-4c9e-a72f-a035cf318af6" providerId="ADAL" clId="{AAA37DE2-93D3-44F8-BE87-C19EC6771CD3}" dt="2023-09-21T08:01:07.495" v="12791" actId="20577"/>
            <ac:spMkLst>
              <pc:docMk/>
              <pc:sldMasterMk cId="409606273" sldId="2147483648"/>
              <pc:sldLayoutMk cId="251652625" sldId="2147483669"/>
              <ac:spMk id="13" creationId="{18BB0752-F87C-44D9-A9A5-97AF1DEDA1AE}"/>
            </ac:spMkLst>
          </pc:spChg>
          <pc:spChg chg="mod">
            <ac:chgData name="van Leeuwen  Sara (VPPL)" userId="7a5f1df4-0dd0-4c9e-a72f-a035cf318af6" providerId="ADAL" clId="{AAA37DE2-93D3-44F8-BE87-C19EC6771CD3}" dt="2023-09-21T08:01:07.495" v="12787" actId="20577"/>
            <ac:spMkLst>
              <pc:docMk/>
              <pc:sldMasterMk cId="409606273" sldId="2147483648"/>
              <pc:sldLayoutMk cId="251652625" sldId="2147483669"/>
              <ac:spMk id="14" creationId="{ED44DE23-7081-4AC9-BF06-502BEC71C004}"/>
            </ac:spMkLst>
          </pc:spChg>
          <pc:spChg chg="mod">
            <ac:chgData name="van Leeuwen  Sara (VPPL)" userId="7a5f1df4-0dd0-4c9e-a72f-a035cf318af6" providerId="ADAL" clId="{AAA37DE2-93D3-44F8-BE87-C19EC6771CD3}" dt="2023-09-21T08:01:07.479" v="12783" actId="20577"/>
            <ac:spMkLst>
              <pc:docMk/>
              <pc:sldMasterMk cId="409606273" sldId="2147483648"/>
              <pc:sldLayoutMk cId="251652625" sldId="2147483669"/>
              <ac:spMk id="15" creationId="{18C24FD2-AEE2-43CA-8EB3-8E646C2E5E46}"/>
            </ac:spMkLst>
          </pc:spChg>
          <pc:spChg chg="mod">
            <ac:chgData name="van Leeuwen  Sara (VPPL)" userId="7a5f1df4-0dd0-4c9e-a72f-a035cf318af6" providerId="ADAL" clId="{AAA37DE2-93D3-44F8-BE87-C19EC6771CD3}" dt="2023-09-21T08:01:07.479" v="12779" actId="20577"/>
            <ac:spMkLst>
              <pc:docMk/>
              <pc:sldMasterMk cId="409606273" sldId="2147483648"/>
              <pc:sldLayoutMk cId="251652625" sldId="2147483669"/>
              <ac:spMk id="16" creationId="{AEE7F6F4-4D2C-45B3-A061-9606B2BD36A7}"/>
            </ac:spMkLst>
          </pc:spChg>
          <pc:spChg chg="mod">
            <ac:chgData name="van Leeuwen  Sara (VPPL)" userId="7a5f1df4-0dd0-4c9e-a72f-a035cf318af6" providerId="ADAL" clId="{AAA37DE2-93D3-44F8-BE87-C19EC6771CD3}" dt="2023-09-21T08:01:07.479" v="12775" actId="20577"/>
            <ac:spMkLst>
              <pc:docMk/>
              <pc:sldMasterMk cId="409606273" sldId="2147483648"/>
              <pc:sldLayoutMk cId="251652625" sldId="2147483669"/>
              <ac:spMk id="18" creationId="{B2186F78-5D28-4695-8B1C-5A3F1A53AAB3}"/>
            </ac:spMkLst>
          </pc:spChg>
          <pc:spChg chg="mod">
            <ac:chgData name="van Leeuwen  Sara (VPPL)" userId="7a5f1df4-0dd0-4c9e-a72f-a035cf318af6" providerId="ADAL" clId="{AAA37DE2-93D3-44F8-BE87-C19EC6771CD3}" dt="2023-09-21T08:01:07.479" v="12771" actId="20577"/>
            <ac:spMkLst>
              <pc:docMk/>
              <pc:sldMasterMk cId="409606273" sldId="2147483648"/>
              <pc:sldLayoutMk cId="251652625" sldId="2147483669"/>
              <ac:spMk id="19" creationId="{1FE5475E-83C3-4BE3-BBF1-FAE9A6986B3F}"/>
            </ac:spMkLst>
          </pc:spChg>
          <pc:spChg chg="mod">
            <ac:chgData name="van Leeuwen  Sara (VPPL)" userId="7a5f1df4-0dd0-4c9e-a72f-a035cf318af6" providerId="ADAL" clId="{AAA37DE2-93D3-44F8-BE87-C19EC6771CD3}" dt="2023-09-21T08:01:07.479" v="12767" actId="20577"/>
            <ac:spMkLst>
              <pc:docMk/>
              <pc:sldMasterMk cId="409606273" sldId="2147483648"/>
              <pc:sldLayoutMk cId="251652625" sldId="2147483669"/>
              <ac:spMk id="20" creationId="{41B77B6E-E7CB-412B-95AC-A9322C6799BB}"/>
            </ac:spMkLst>
          </pc:spChg>
          <pc:spChg chg="mod">
            <ac:chgData name="van Leeuwen  Sara (VPPL)" userId="7a5f1df4-0dd0-4c9e-a72f-a035cf318af6" providerId="ADAL" clId="{AAA37DE2-93D3-44F8-BE87-C19EC6771CD3}" dt="2023-09-21T08:01:07.479" v="12763" actId="20577"/>
            <ac:spMkLst>
              <pc:docMk/>
              <pc:sldMasterMk cId="409606273" sldId="2147483648"/>
              <pc:sldLayoutMk cId="251652625" sldId="2147483669"/>
              <ac:spMk id="21" creationId="{832E5C1A-13CE-49A6-B590-B6EAA5F9E1AD}"/>
            </ac:spMkLst>
          </pc:spChg>
          <pc:spChg chg="mod">
            <ac:chgData name="van Leeuwen  Sara (VPPL)" userId="7a5f1df4-0dd0-4c9e-a72f-a035cf318af6" providerId="ADAL" clId="{AAA37DE2-93D3-44F8-BE87-C19EC6771CD3}" dt="2023-09-21T08:01:07.479" v="12759" actId="20577"/>
            <ac:spMkLst>
              <pc:docMk/>
              <pc:sldMasterMk cId="409606273" sldId="2147483648"/>
              <pc:sldLayoutMk cId="251652625" sldId="2147483669"/>
              <ac:spMk id="22" creationId="{63AE00B0-780F-4053-8FE9-B7D321217AFF}"/>
            </ac:spMkLst>
          </pc:spChg>
          <pc:spChg chg="mod">
            <ac:chgData name="van Leeuwen  Sara (VPPL)" userId="7a5f1df4-0dd0-4c9e-a72f-a035cf318af6" providerId="ADAL" clId="{AAA37DE2-93D3-44F8-BE87-C19EC6771CD3}" dt="2023-09-21T08:01:07.479" v="12755" actId="20577"/>
            <ac:spMkLst>
              <pc:docMk/>
              <pc:sldMasterMk cId="409606273" sldId="2147483648"/>
              <pc:sldLayoutMk cId="251652625" sldId="2147483669"/>
              <ac:spMk id="23" creationId="{2406CEAF-7399-4CCB-A322-03F0BA2532F5}"/>
            </ac:spMkLst>
          </pc:spChg>
          <pc:graphicFrameChg chg="mod">
            <ac:chgData name="van Leeuwen  Sara (VPPL)" userId="7a5f1df4-0dd0-4c9e-a72f-a035cf318af6" providerId="ADAL" clId="{AAA37DE2-93D3-44F8-BE87-C19EC6771CD3}" dt="2023-09-21T08:01:08.188" v="15354"/>
            <ac:graphicFrameMkLst>
              <pc:docMk/>
              <pc:sldMasterMk cId="409606273" sldId="2147483648"/>
              <pc:sldLayoutMk cId="251652625" sldId="2147483669"/>
              <ac:graphicFrameMk id="7" creationId="{515C5B71-4EA8-CE98-62D3-A96FDB8A9640}"/>
            </ac:graphicFrameMkLst>
          </pc:graphicFrameChg>
        </pc:sldLayoutChg>
        <pc:sldLayoutChg chg="addSp delSp modSp mod">
          <pc:chgData name="van Leeuwen  Sara (VPPL)" userId="7a5f1df4-0dd0-4c9e-a72f-a035cf318af6" providerId="ADAL" clId="{AAA37DE2-93D3-44F8-BE87-C19EC6771CD3}" dt="2023-09-21T08:01:08.235" v="15378"/>
          <pc:sldLayoutMkLst>
            <pc:docMk/>
            <pc:sldMasterMk cId="409606273" sldId="2147483648"/>
            <pc:sldLayoutMk cId="870631199" sldId="2147483670"/>
          </pc:sldLayoutMkLst>
          <pc:spChg chg="mod">
            <ac:chgData name="van Leeuwen  Sara (VPPL)" userId="7a5f1df4-0dd0-4c9e-a72f-a035cf318af6" providerId="ADAL" clId="{AAA37DE2-93D3-44F8-BE87-C19EC6771CD3}" dt="2023-09-21T08:01:07.858" v="14191" actId="948"/>
            <ac:spMkLst>
              <pc:docMk/>
              <pc:sldMasterMk cId="409606273" sldId="2147483648"/>
              <pc:sldLayoutMk cId="870631199" sldId="2147483670"/>
              <ac:spMk id="2" creationId="{3346F7F9-CBC8-4641-B12B-7E76FD213E12}"/>
            </ac:spMkLst>
          </pc:spChg>
          <pc:spChg chg="add del mod modVis">
            <ac:chgData name="van Leeuwen  Sara (VPPL)" userId="7a5f1df4-0dd0-4c9e-a72f-a035cf318af6" providerId="ADAL" clId="{AAA37DE2-93D3-44F8-BE87-C19EC6771CD3}" dt="2023-09-21T08:01:08.125" v="15276" actId="478"/>
            <ac:spMkLst>
              <pc:docMk/>
              <pc:sldMasterMk cId="409606273" sldId="2147483648"/>
              <pc:sldLayoutMk cId="870631199" sldId="2147483670"/>
              <ac:spMk id="3" creationId="{D57F1349-9537-F371-9AB7-CD5DBFED5BE2}"/>
            </ac:spMkLst>
          </pc:spChg>
          <pc:spChg chg="mod">
            <ac:chgData name="van Leeuwen  Sara (VPPL)" userId="7a5f1df4-0dd0-4c9e-a72f-a035cf318af6" providerId="ADAL" clId="{AAA37DE2-93D3-44F8-BE87-C19EC6771CD3}" dt="2023-09-21T07:58:44.394" v="4975" actId="790"/>
            <ac:spMkLst>
              <pc:docMk/>
              <pc:sldMasterMk cId="409606273" sldId="2147483648"/>
              <pc:sldLayoutMk cId="870631199" sldId="2147483670"/>
              <ac:spMk id="4" creationId="{67DB21BA-81C0-43DB-A42C-5F672DBC37F2}"/>
            </ac:spMkLst>
          </pc:spChg>
          <pc:spChg chg="mod">
            <ac:chgData name="van Leeuwen  Sara (VPPL)" userId="7a5f1df4-0dd0-4c9e-a72f-a035cf318af6" providerId="ADAL" clId="{AAA37DE2-93D3-44F8-BE87-C19EC6771CD3}" dt="2023-09-21T08:01:07.495" v="12794" actId="790"/>
            <ac:spMkLst>
              <pc:docMk/>
              <pc:sldMasterMk cId="409606273" sldId="2147483648"/>
              <pc:sldLayoutMk cId="870631199" sldId="2147483670"/>
              <ac:spMk id="5" creationId="{1BC78786-28C3-4EAB-A3FC-1A4BFA8447EC}"/>
            </ac:spMkLst>
          </pc:spChg>
          <pc:spChg chg="mod">
            <ac:chgData name="van Leeuwen  Sara (VPPL)" userId="7a5f1df4-0dd0-4c9e-a72f-a035cf318af6" providerId="ADAL" clId="{AAA37DE2-93D3-44F8-BE87-C19EC6771CD3}" dt="2023-09-21T07:58:44.394" v="4977" actId="790"/>
            <ac:spMkLst>
              <pc:docMk/>
              <pc:sldMasterMk cId="409606273" sldId="2147483648"/>
              <pc:sldLayoutMk cId="870631199" sldId="2147483670"/>
              <ac:spMk id="6" creationId="{0FC1D5C1-A4AD-42D4-93B7-D3B71140E3A1}"/>
            </ac:spMkLst>
          </pc:spChg>
          <pc:spChg chg="mod">
            <ac:chgData name="van Leeuwen  Sara (VPPL)" userId="7a5f1df4-0dd0-4c9e-a72f-a035cf318af6" providerId="ADAL" clId="{AAA37DE2-93D3-44F8-BE87-C19EC6771CD3}" dt="2023-09-21T07:58:44.394" v="4978" actId="790"/>
            <ac:spMkLst>
              <pc:docMk/>
              <pc:sldMasterMk cId="409606273" sldId="2147483648"/>
              <pc:sldLayoutMk cId="870631199" sldId="2147483670"/>
              <ac:spMk id="11" creationId="{05941150-30DE-48F5-9038-0E82CD18DE28}"/>
            </ac:spMkLst>
          </pc:spChg>
          <pc:graphicFrameChg chg="mod">
            <ac:chgData name="van Leeuwen  Sara (VPPL)" userId="7a5f1df4-0dd0-4c9e-a72f-a035cf318af6" providerId="ADAL" clId="{AAA37DE2-93D3-44F8-BE87-C19EC6771CD3}" dt="2023-09-21T08:01:08.235" v="15378"/>
            <ac:graphicFrameMkLst>
              <pc:docMk/>
              <pc:sldMasterMk cId="409606273" sldId="2147483648"/>
              <pc:sldLayoutMk cId="870631199" sldId="2147483670"/>
              <ac:graphicFrameMk id="8" creationId="{4DC04BC0-B0BC-CB5C-89E8-82CAF84F6354}"/>
            </ac:graphicFrameMkLst>
          </pc:graphicFrameChg>
        </pc:sldLayoutChg>
        <pc:sldLayoutChg chg="modSp mod">
          <pc:chgData name="van Leeuwen  Sara (VPPL)" userId="7a5f1df4-0dd0-4c9e-a72f-a035cf318af6" providerId="ADAL" clId="{AAA37DE2-93D3-44F8-BE87-C19EC6771CD3}" dt="2023-09-21T08:01:08.235" v="15380"/>
          <pc:sldLayoutMkLst>
            <pc:docMk/>
            <pc:sldMasterMk cId="409606273" sldId="2147483648"/>
            <pc:sldLayoutMk cId="2996574597" sldId="2147483671"/>
          </pc:sldLayoutMkLst>
          <pc:spChg chg="mod">
            <ac:chgData name="van Leeuwen  Sara (VPPL)" userId="7a5f1df4-0dd0-4c9e-a72f-a035cf318af6" providerId="ADAL" clId="{AAA37DE2-93D3-44F8-BE87-C19EC6771CD3}" dt="2023-09-21T07:58:44.394" v="4979" actId="790"/>
            <ac:spMkLst>
              <pc:docMk/>
              <pc:sldMasterMk cId="409606273" sldId="2147483648"/>
              <pc:sldLayoutMk cId="2996574597" sldId="2147483671"/>
              <ac:spMk id="4" creationId="{67DB21BA-81C0-43DB-A42C-5F672DBC37F2}"/>
            </ac:spMkLst>
          </pc:spChg>
          <pc:spChg chg="mod">
            <ac:chgData name="van Leeuwen  Sara (VPPL)" userId="7a5f1df4-0dd0-4c9e-a72f-a035cf318af6" providerId="ADAL" clId="{AAA37DE2-93D3-44F8-BE87-C19EC6771CD3}" dt="2023-09-21T08:01:07.495" v="12798" actId="790"/>
            <ac:spMkLst>
              <pc:docMk/>
              <pc:sldMasterMk cId="409606273" sldId="2147483648"/>
              <pc:sldLayoutMk cId="2996574597" sldId="2147483671"/>
              <ac:spMk id="5" creationId="{1BC78786-28C3-4EAB-A3FC-1A4BFA8447EC}"/>
            </ac:spMkLst>
          </pc:spChg>
          <pc:spChg chg="mod">
            <ac:chgData name="van Leeuwen  Sara (VPPL)" userId="7a5f1df4-0dd0-4c9e-a72f-a035cf318af6" providerId="ADAL" clId="{AAA37DE2-93D3-44F8-BE87-C19EC6771CD3}" dt="2023-09-21T07:58:44.394" v="4981" actId="790"/>
            <ac:spMkLst>
              <pc:docMk/>
              <pc:sldMasterMk cId="409606273" sldId="2147483648"/>
              <pc:sldLayoutMk cId="2996574597" sldId="2147483671"/>
              <ac:spMk id="6" creationId="{0FC1D5C1-A4AD-42D4-93B7-D3B71140E3A1}"/>
            </ac:spMkLst>
          </pc:spChg>
          <pc:spChg chg="mod">
            <ac:chgData name="van Leeuwen  Sara (VPPL)" userId="7a5f1df4-0dd0-4c9e-a72f-a035cf318af6" providerId="ADAL" clId="{AAA37DE2-93D3-44F8-BE87-C19EC6771CD3}" dt="2023-09-21T07:58:44.410" v="4982" actId="790"/>
            <ac:spMkLst>
              <pc:docMk/>
              <pc:sldMasterMk cId="409606273" sldId="2147483648"/>
              <pc:sldLayoutMk cId="2996574597" sldId="2147483671"/>
              <ac:spMk id="11" creationId="{05941150-30DE-48F5-9038-0E82CD18DE28}"/>
            </ac:spMkLst>
          </pc:spChg>
          <pc:graphicFrameChg chg="mod">
            <ac:chgData name="van Leeuwen  Sara (VPPL)" userId="7a5f1df4-0dd0-4c9e-a72f-a035cf318af6" providerId="ADAL" clId="{AAA37DE2-93D3-44F8-BE87-C19EC6771CD3}" dt="2023-09-21T08:01:08.235" v="15380"/>
            <ac:graphicFrameMkLst>
              <pc:docMk/>
              <pc:sldMasterMk cId="409606273" sldId="2147483648"/>
              <pc:sldLayoutMk cId="2996574597" sldId="2147483671"/>
              <ac:graphicFrameMk id="2" creationId="{A153FE21-E72D-06E4-7A05-286D3BCEADDB}"/>
            </ac:graphicFrameMkLst>
          </pc:graphicFrameChg>
        </pc:sldLayoutChg>
        <pc:sldLayoutChg chg="addSp delSp modSp mod">
          <pc:chgData name="van Leeuwen  Sara (VPPL)" userId="7a5f1df4-0dd0-4c9e-a72f-a035cf318af6" providerId="ADAL" clId="{AAA37DE2-93D3-44F8-BE87-C19EC6771CD3}" dt="2023-09-21T08:01:08.251" v="15382"/>
          <pc:sldLayoutMkLst>
            <pc:docMk/>
            <pc:sldMasterMk cId="409606273" sldId="2147483648"/>
            <pc:sldLayoutMk cId="3030196718" sldId="2147483672"/>
          </pc:sldLayoutMkLst>
          <pc:spChg chg="mod">
            <ac:chgData name="van Leeuwen  Sara (VPPL)" userId="7a5f1df4-0dd0-4c9e-a72f-a035cf318af6" providerId="ADAL" clId="{AAA37DE2-93D3-44F8-BE87-C19EC6771CD3}" dt="2023-09-21T08:01:07.874" v="14227" actId="948"/>
            <ac:spMkLst>
              <pc:docMk/>
              <pc:sldMasterMk cId="409606273" sldId="2147483648"/>
              <pc:sldLayoutMk cId="3030196718" sldId="2147483672"/>
              <ac:spMk id="2" creationId="{3346F7F9-CBC8-4641-B12B-7E76FD213E12}"/>
            </ac:spMkLst>
          </pc:spChg>
          <pc:spChg chg="mod">
            <ac:chgData name="van Leeuwen  Sara (VPPL)" userId="7a5f1df4-0dd0-4c9e-a72f-a035cf318af6" providerId="ADAL" clId="{AAA37DE2-93D3-44F8-BE87-C19EC6771CD3}" dt="2023-09-21T07:58:44.410" v="4984" actId="790"/>
            <ac:spMkLst>
              <pc:docMk/>
              <pc:sldMasterMk cId="409606273" sldId="2147483648"/>
              <pc:sldLayoutMk cId="3030196718" sldId="2147483672"/>
              <ac:spMk id="3" creationId="{87D3E2EF-5F98-49EC-BCEA-B215D49920A3}"/>
            </ac:spMkLst>
          </pc:spChg>
          <pc:spChg chg="mod">
            <ac:chgData name="van Leeuwen  Sara (VPPL)" userId="7a5f1df4-0dd0-4c9e-a72f-a035cf318af6" providerId="ADAL" clId="{AAA37DE2-93D3-44F8-BE87-C19EC6771CD3}" dt="2023-09-21T07:58:44.410" v="4985" actId="790"/>
            <ac:spMkLst>
              <pc:docMk/>
              <pc:sldMasterMk cId="409606273" sldId="2147483648"/>
              <pc:sldLayoutMk cId="3030196718" sldId="2147483672"/>
              <ac:spMk id="4" creationId="{67DB21BA-81C0-43DB-A42C-5F672DBC37F2}"/>
            </ac:spMkLst>
          </pc:spChg>
          <pc:spChg chg="mod">
            <ac:chgData name="van Leeuwen  Sara (VPPL)" userId="7a5f1df4-0dd0-4c9e-a72f-a035cf318af6" providerId="ADAL" clId="{AAA37DE2-93D3-44F8-BE87-C19EC6771CD3}" dt="2023-09-21T08:01:07.495" v="12804" actId="790"/>
            <ac:spMkLst>
              <pc:docMk/>
              <pc:sldMasterMk cId="409606273" sldId="2147483648"/>
              <pc:sldLayoutMk cId="3030196718" sldId="2147483672"/>
              <ac:spMk id="5" creationId="{1BC78786-28C3-4EAB-A3FC-1A4BFA8447EC}"/>
            </ac:spMkLst>
          </pc:spChg>
          <pc:spChg chg="mod">
            <ac:chgData name="van Leeuwen  Sara (VPPL)" userId="7a5f1df4-0dd0-4c9e-a72f-a035cf318af6" providerId="ADAL" clId="{AAA37DE2-93D3-44F8-BE87-C19EC6771CD3}" dt="2023-09-21T07:58:44.426" v="4987" actId="790"/>
            <ac:spMkLst>
              <pc:docMk/>
              <pc:sldMasterMk cId="409606273" sldId="2147483648"/>
              <pc:sldLayoutMk cId="3030196718" sldId="2147483672"/>
              <ac:spMk id="6" creationId="{0FC1D5C1-A4AD-42D4-93B7-D3B71140E3A1}"/>
            </ac:spMkLst>
          </pc:spChg>
          <pc:spChg chg="add del mod modVis">
            <ac:chgData name="van Leeuwen  Sara (VPPL)" userId="7a5f1df4-0dd0-4c9e-a72f-a035cf318af6" providerId="ADAL" clId="{AAA37DE2-93D3-44F8-BE87-C19EC6771CD3}" dt="2023-09-21T08:01:08.125" v="15279" actId="478"/>
            <ac:spMkLst>
              <pc:docMk/>
              <pc:sldMasterMk cId="409606273" sldId="2147483648"/>
              <pc:sldLayoutMk cId="3030196718" sldId="2147483672"/>
              <ac:spMk id="8" creationId="{0F5288C0-47E8-BC7B-4B58-DB9811172666}"/>
            </ac:spMkLst>
          </pc:spChg>
          <pc:spChg chg="mod">
            <ac:chgData name="van Leeuwen  Sara (VPPL)" userId="7a5f1df4-0dd0-4c9e-a72f-a035cf318af6" providerId="ADAL" clId="{AAA37DE2-93D3-44F8-BE87-C19EC6771CD3}" dt="2023-09-21T07:58:44.426" v="4988" actId="790"/>
            <ac:spMkLst>
              <pc:docMk/>
              <pc:sldMasterMk cId="409606273" sldId="2147483648"/>
              <pc:sldLayoutMk cId="3030196718" sldId="2147483672"/>
              <ac:spMk id="11" creationId="{221A3BAE-B19D-4390-B4A5-2C8A2CC87C59}"/>
            </ac:spMkLst>
          </pc:spChg>
          <pc:graphicFrameChg chg="mod">
            <ac:chgData name="van Leeuwen  Sara (VPPL)" userId="7a5f1df4-0dd0-4c9e-a72f-a035cf318af6" providerId="ADAL" clId="{AAA37DE2-93D3-44F8-BE87-C19EC6771CD3}" dt="2023-09-21T08:01:08.251" v="15382"/>
            <ac:graphicFrameMkLst>
              <pc:docMk/>
              <pc:sldMasterMk cId="409606273" sldId="2147483648"/>
              <pc:sldLayoutMk cId="3030196718" sldId="2147483672"/>
              <ac:graphicFrameMk id="9" creationId="{F34FDD1A-9E9C-43F8-49EE-611996F4D8DC}"/>
            </ac:graphicFrameMkLst>
          </pc:graphicFrameChg>
        </pc:sldLayoutChg>
        <pc:sldLayoutChg chg="addSp delSp modSp mod">
          <pc:chgData name="van Leeuwen  Sara (VPPL)" userId="7a5f1df4-0dd0-4c9e-a72f-a035cf318af6" providerId="ADAL" clId="{AAA37DE2-93D3-44F8-BE87-C19EC6771CD3}" dt="2023-09-21T08:01:08.251" v="15384"/>
          <pc:sldLayoutMkLst>
            <pc:docMk/>
            <pc:sldMasterMk cId="409606273" sldId="2147483648"/>
            <pc:sldLayoutMk cId="3016386643" sldId="2147483673"/>
          </pc:sldLayoutMkLst>
          <pc:spChg chg="mod">
            <ac:chgData name="van Leeuwen  Sara (VPPL)" userId="7a5f1df4-0dd0-4c9e-a72f-a035cf318af6" providerId="ADAL" clId="{AAA37DE2-93D3-44F8-BE87-C19EC6771CD3}" dt="2023-09-21T08:01:07.890" v="14263" actId="948"/>
            <ac:spMkLst>
              <pc:docMk/>
              <pc:sldMasterMk cId="409606273" sldId="2147483648"/>
              <pc:sldLayoutMk cId="3016386643" sldId="2147483673"/>
              <ac:spMk id="2" creationId="{3346F7F9-CBC8-4641-B12B-7E76FD213E12}"/>
            </ac:spMkLst>
          </pc:spChg>
          <pc:spChg chg="mod">
            <ac:chgData name="van Leeuwen  Sara (VPPL)" userId="7a5f1df4-0dd0-4c9e-a72f-a035cf318af6" providerId="ADAL" clId="{AAA37DE2-93D3-44F8-BE87-C19EC6771CD3}" dt="2023-09-21T07:58:44.426" v="4990" actId="790"/>
            <ac:spMkLst>
              <pc:docMk/>
              <pc:sldMasterMk cId="409606273" sldId="2147483648"/>
              <pc:sldLayoutMk cId="3016386643" sldId="2147483673"/>
              <ac:spMk id="3" creationId="{87D3E2EF-5F98-49EC-BCEA-B215D49920A3}"/>
            </ac:spMkLst>
          </pc:spChg>
          <pc:spChg chg="mod">
            <ac:chgData name="van Leeuwen  Sara (VPPL)" userId="7a5f1df4-0dd0-4c9e-a72f-a035cf318af6" providerId="ADAL" clId="{AAA37DE2-93D3-44F8-BE87-C19EC6771CD3}" dt="2023-09-21T07:58:44.440" v="4991" actId="790"/>
            <ac:spMkLst>
              <pc:docMk/>
              <pc:sldMasterMk cId="409606273" sldId="2147483648"/>
              <pc:sldLayoutMk cId="3016386643" sldId="2147483673"/>
              <ac:spMk id="4" creationId="{67DB21BA-81C0-43DB-A42C-5F672DBC37F2}"/>
            </ac:spMkLst>
          </pc:spChg>
          <pc:spChg chg="mod">
            <ac:chgData name="van Leeuwen  Sara (VPPL)" userId="7a5f1df4-0dd0-4c9e-a72f-a035cf318af6" providerId="ADAL" clId="{AAA37DE2-93D3-44F8-BE87-C19EC6771CD3}" dt="2023-09-21T08:01:07.495" v="12810" actId="790"/>
            <ac:spMkLst>
              <pc:docMk/>
              <pc:sldMasterMk cId="409606273" sldId="2147483648"/>
              <pc:sldLayoutMk cId="3016386643" sldId="2147483673"/>
              <ac:spMk id="5" creationId="{1BC78786-28C3-4EAB-A3FC-1A4BFA8447EC}"/>
            </ac:spMkLst>
          </pc:spChg>
          <pc:spChg chg="mod">
            <ac:chgData name="van Leeuwen  Sara (VPPL)" userId="7a5f1df4-0dd0-4c9e-a72f-a035cf318af6" providerId="ADAL" clId="{AAA37DE2-93D3-44F8-BE87-C19EC6771CD3}" dt="2023-09-21T07:58:44.442" v="4993" actId="790"/>
            <ac:spMkLst>
              <pc:docMk/>
              <pc:sldMasterMk cId="409606273" sldId="2147483648"/>
              <pc:sldLayoutMk cId="3016386643" sldId="2147483673"/>
              <ac:spMk id="6" creationId="{0FC1D5C1-A4AD-42D4-93B7-D3B71140E3A1}"/>
            </ac:spMkLst>
          </pc:spChg>
          <pc:spChg chg="add del mod modVis">
            <ac:chgData name="van Leeuwen  Sara (VPPL)" userId="7a5f1df4-0dd0-4c9e-a72f-a035cf318af6" providerId="ADAL" clId="{AAA37DE2-93D3-44F8-BE87-C19EC6771CD3}" dt="2023-09-21T08:01:08.125" v="15281" actId="478"/>
            <ac:spMkLst>
              <pc:docMk/>
              <pc:sldMasterMk cId="409606273" sldId="2147483648"/>
              <pc:sldLayoutMk cId="3016386643" sldId="2147483673"/>
              <ac:spMk id="8" creationId="{234E62DF-ADE3-8E03-9FDD-A761979B9CA0}"/>
            </ac:spMkLst>
          </pc:spChg>
          <pc:spChg chg="mod">
            <ac:chgData name="van Leeuwen  Sara (VPPL)" userId="7a5f1df4-0dd0-4c9e-a72f-a035cf318af6" providerId="ADAL" clId="{AAA37DE2-93D3-44F8-BE87-C19EC6771CD3}" dt="2023-09-21T07:58:44.442" v="4995" actId="790"/>
            <ac:spMkLst>
              <pc:docMk/>
              <pc:sldMasterMk cId="409606273" sldId="2147483648"/>
              <pc:sldLayoutMk cId="3016386643" sldId="2147483673"/>
              <ac:spMk id="9" creationId="{1AAB6914-2518-430D-BF4C-14EA51B61410}"/>
            </ac:spMkLst>
          </pc:spChg>
          <pc:spChg chg="mod">
            <ac:chgData name="van Leeuwen  Sara (VPPL)" userId="7a5f1df4-0dd0-4c9e-a72f-a035cf318af6" providerId="ADAL" clId="{AAA37DE2-93D3-44F8-BE87-C19EC6771CD3}" dt="2023-09-21T07:58:44.442" v="4994" actId="790"/>
            <ac:spMkLst>
              <pc:docMk/>
              <pc:sldMasterMk cId="409606273" sldId="2147483648"/>
              <pc:sldLayoutMk cId="3016386643" sldId="2147483673"/>
              <ac:spMk id="11" creationId="{221A3BAE-B19D-4390-B4A5-2C8A2CC87C59}"/>
            </ac:spMkLst>
          </pc:spChg>
          <pc:spChg chg="mod">
            <ac:chgData name="van Leeuwen  Sara (VPPL)" userId="7a5f1df4-0dd0-4c9e-a72f-a035cf318af6" providerId="ADAL" clId="{AAA37DE2-93D3-44F8-BE87-C19EC6771CD3}" dt="2023-09-21T07:58:44.442" v="4996" actId="790"/>
            <ac:spMkLst>
              <pc:docMk/>
              <pc:sldMasterMk cId="409606273" sldId="2147483648"/>
              <pc:sldLayoutMk cId="3016386643" sldId="2147483673"/>
              <ac:spMk id="12" creationId="{5092EEFB-079B-4C38-A665-E52B9837601B}"/>
            </ac:spMkLst>
          </pc:spChg>
          <pc:graphicFrameChg chg="mod">
            <ac:chgData name="van Leeuwen  Sara (VPPL)" userId="7a5f1df4-0dd0-4c9e-a72f-a035cf318af6" providerId="ADAL" clId="{AAA37DE2-93D3-44F8-BE87-C19EC6771CD3}" dt="2023-09-21T08:01:08.251" v="15384"/>
            <ac:graphicFrameMkLst>
              <pc:docMk/>
              <pc:sldMasterMk cId="409606273" sldId="2147483648"/>
              <pc:sldLayoutMk cId="3016386643" sldId="2147483673"/>
              <ac:graphicFrameMk id="10" creationId="{FD8CE8ED-C5D7-2E67-6534-6EF93D703418}"/>
            </ac:graphicFrameMkLst>
          </pc:graphicFrameChg>
        </pc:sldLayoutChg>
        <pc:sldLayoutChg chg="addSp delSp modSp mod">
          <pc:chgData name="van Leeuwen  Sara (VPPL)" userId="7a5f1df4-0dd0-4c9e-a72f-a035cf318af6" providerId="ADAL" clId="{AAA37DE2-93D3-44F8-BE87-C19EC6771CD3}" dt="2023-09-21T08:01:08.251" v="15386"/>
          <pc:sldLayoutMkLst>
            <pc:docMk/>
            <pc:sldMasterMk cId="409606273" sldId="2147483648"/>
            <pc:sldLayoutMk cId="2955461353" sldId="2147483674"/>
          </pc:sldLayoutMkLst>
          <pc:spChg chg="mod">
            <ac:chgData name="van Leeuwen  Sara (VPPL)" userId="7a5f1df4-0dd0-4c9e-a72f-a035cf318af6" providerId="ADAL" clId="{AAA37DE2-93D3-44F8-BE87-C19EC6771CD3}" dt="2023-09-21T08:01:07.890" v="14299" actId="948"/>
            <ac:spMkLst>
              <pc:docMk/>
              <pc:sldMasterMk cId="409606273" sldId="2147483648"/>
              <pc:sldLayoutMk cId="2955461353" sldId="2147483674"/>
              <ac:spMk id="2" creationId="{3346F7F9-CBC8-4641-B12B-7E76FD213E12}"/>
            </ac:spMkLst>
          </pc:spChg>
          <pc:spChg chg="mod">
            <ac:chgData name="van Leeuwen  Sara (VPPL)" userId="7a5f1df4-0dd0-4c9e-a72f-a035cf318af6" providerId="ADAL" clId="{AAA37DE2-93D3-44F8-BE87-C19EC6771CD3}" dt="2023-09-21T07:58:44.457" v="4998" actId="790"/>
            <ac:spMkLst>
              <pc:docMk/>
              <pc:sldMasterMk cId="409606273" sldId="2147483648"/>
              <pc:sldLayoutMk cId="2955461353" sldId="2147483674"/>
              <ac:spMk id="3" creationId="{87D3E2EF-5F98-49EC-BCEA-B215D49920A3}"/>
            </ac:spMkLst>
          </pc:spChg>
          <pc:spChg chg="mod">
            <ac:chgData name="van Leeuwen  Sara (VPPL)" userId="7a5f1df4-0dd0-4c9e-a72f-a035cf318af6" providerId="ADAL" clId="{AAA37DE2-93D3-44F8-BE87-C19EC6771CD3}" dt="2023-09-21T07:58:44.457" v="4999" actId="790"/>
            <ac:spMkLst>
              <pc:docMk/>
              <pc:sldMasterMk cId="409606273" sldId="2147483648"/>
              <pc:sldLayoutMk cId="2955461353" sldId="2147483674"/>
              <ac:spMk id="4" creationId="{67DB21BA-81C0-43DB-A42C-5F672DBC37F2}"/>
            </ac:spMkLst>
          </pc:spChg>
          <pc:spChg chg="mod">
            <ac:chgData name="van Leeuwen  Sara (VPPL)" userId="7a5f1df4-0dd0-4c9e-a72f-a035cf318af6" providerId="ADAL" clId="{AAA37DE2-93D3-44F8-BE87-C19EC6771CD3}" dt="2023-09-21T08:01:07.511" v="12818" actId="790"/>
            <ac:spMkLst>
              <pc:docMk/>
              <pc:sldMasterMk cId="409606273" sldId="2147483648"/>
              <pc:sldLayoutMk cId="2955461353" sldId="2147483674"/>
              <ac:spMk id="5" creationId="{1BC78786-28C3-4EAB-A3FC-1A4BFA8447EC}"/>
            </ac:spMkLst>
          </pc:spChg>
          <pc:spChg chg="mod">
            <ac:chgData name="van Leeuwen  Sara (VPPL)" userId="7a5f1df4-0dd0-4c9e-a72f-a035cf318af6" providerId="ADAL" clId="{AAA37DE2-93D3-44F8-BE87-C19EC6771CD3}" dt="2023-09-21T07:58:44.457" v="5001" actId="790"/>
            <ac:spMkLst>
              <pc:docMk/>
              <pc:sldMasterMk cId="409606273" sldId="2147483648"/>
              <pc:sldLayoutMk cId="2955461353" sldId="2147483674"/>
              <ac:spMk id="6" creationId="{0FC1D5C1-A4AD-42D4-93B7-D3B71140E3A1}"/>
            </ac:spMkLst>
          </pc:spChg>
          <pc:spChg chg="add del mod modVis">
            <ac:chgData name="van Leeuwen  Sara (VPPL)" userId="7a5f1df4-0dd0-4c9e-a72f-a035cf318af6" providerId="ADAL" clId="{AAA37DE2-93D3-44F8-BE87-C19EC6771CD3}" dt="2023-09-21T08:01:08.125" v="15283" actId="478"/>
            <ac:spMkLst>
              <pc:docMk/>
              <pc:sldMasterMk cId="409606273" sldId="2147483648"/>
              <pc:sldLayoutMk cId="2955461353" sldId="2147483674"/>
              <ac:spMk id="8" creationId="{642B310A-7D40-5B55-069A-D5292D40CC2F}"/>
            </ac:spMkLst>
          </pc:spChg>
          <pc:spChg chg="mod">
            <ac:chgData name="van Leeuwen  Sara (VPPL)" userId="7a5f1df4-0dd0-4c9e-a72f-a035cf318af6" providerId="ADAL" clId="{AAA37DE2-93D3-44F8-BE87-C19EC6771CD3}" dt="2023-09-21T07:58:44.457" v="5002" actId="790"/>
            <ac:spMkLst>
              <pc:docMk/>
              <pc:sldMasterMk cId="409606273" sldId="2147483648"/>
              <pc:sldLayoutMk cId="2955461353" sldId="2147483674"/>
              <ac:spMk id="11" creationId="{221A3BAE-B19D-4390-B4A5-2C8A2CC87C59}"/>
            </ac:spMkLst>
          </pc:spChg>
          <pc:spChg chg="mod">
            <ac:chgData name="van Leeuwen  Sara (VPPL)" userId="7a5f1df4-0dd0-4c9e-a72f-a035cf318af6" providerId="ADAL" clId="{AAA37DE2-93D3-44F8-BE87-C19EC6771CD3}" dt="2023-09-21T07:58:44.473" v="5003" actId="790"/>
            <ac:spMkLst>
              <pc:docMk/>
              <pc:sldMasterMk cId="409606273" sldId="2147483648"/>
              <pc:sldLayoutMk cId="2955461353" sldId="2147483674"/>
              <ac:spMk id="13" creationId="{36793346-BF6B-42A8-ADE0-3AA3DC3B239A}"/>
            </ac:spMkLst>
          </pc:spChg>
          <pc:spChg chg="mod">
            <ac:chgData name="van Leeuwen  Sara (VPPL)" userId="7a5f1df4-0dd0-4c9e-a72f-a035cf318af6" providerId="ADAL" clId="{AAA37DE2-93D3-44F8-BE87-C19EC6771CD3}" dt="2023-09-21T07:58:44.473" v="5004" actId="790"/>
            <ac:spMkLst>
              <pc:docMk/>
              <pc:sldMasterMk cId="409606273" sldId="2147483648"/>
              <pc:sldLayoutMk cId="2955461353" sldId="2147483674"/>
              <ac:spMk id="14" creationId="{FE637F68-618E-43EB-B240-4BFA26852FC5}"/>
            </ac:spMkLst>
          </pc:spChg>
          <pc:graphicFrameChg chg="mod">
            <ac:chgData name="van Leeuwen  Sara (VPPL)" userId="7a5f1df4-0dd0-4c9e-a72f-a035cf318af6" providerId="ADAL" clId="{AAA37DE2-93D3-44F8-BE87-C19EC6771CD3}" dt="2023-09-21T08:01:08.251" v="15386"/>
            <ac:graphicFrameMkLst>
              <pc:docMk/>
              <pc:sldMasterMk cId="409606273" sldId="2147483648"/>
              <pc:sldLayoutMk cId="2955461353" sldId="2147483674"/>
              <ac:graphicFrameMk id="9" creationId="{C7C215CA-7C36-65CF-4F4F-15FFDD722E3E}"/>
            </ac:graphicFrameMkLst>
          </pc:graphicFrameChg>
        </pc:sldLayoutChg>
        <pc:sldLayoutChg chg="addSp delSp modSp mod">
          <pc:chgData name="van Leeuwen  Sara (VPPL)" userId="7a5f1df4-0dd0-4c9e-a72f-a035cf318af6" providerId="ADAL" clId="{AAA37DE2-93D3-44F8-BE87-C19EC6771CD3}" dt="2023-09-21T08:01:08.251" v="15388"/>
          <pc:sldLayoutMkLst>
            <pc:docMk/>
            <pc:sldMasterMk cId="409606273" sldId="2147483648"/>
            <pc:sldLayoutMk cId="2096750995" sldId="2147483675"/>
          </pc:sldLayoutMkLst>
          <pc:spChg chg="mod">
            <ac:chgData name="van Leeuwen  Sara (VPPL)" userId="7a5f1df4-0dd0-4c9e-a72f-a035cf318af6" providerId="ADAL" clId="{AAA37DE2-93D3-44F8-BE87-C19EC6771CD3}" dt="2023-09-21T08:01:07.905" v="14335" actId="948"/>
            <ac:spMkLst>
              <pc:docMk/>
              <pc:sldMasterMk cId="409606273" sldId="2147483648"/>
              <pc:sldLayoutMk cId="2096750995" sldId="2147483675"/>
              <ac:spMk id="2" creationId="{3346F7F9-CBC8-4641-B12B-7E76FD213E12}"/>
            </ac:spMkLst>
          </pc:spChg>
          <pc:spChg chg="mod">
            <ac:chgData name="van Leeuwen  Sara (VPPL)" userId="7a5f1df4-0dd0-4c9e-a72f-a035cf318af6" providerId="ADAL" clId="{AAA37DE2-93D3-44F8-BE87-C19EC6771CD3}" dt="2023-09-21T07:58:44.473" v="5006" actId="790"/>
            <ac:spMkLst>
              <pc:docMk/>
              <pc:sldMasterMk cId="409606273" sldId="2147483648"/>
              <pc:sldLayoutMk cId="2096750995" sldId="2147483675"/>
              <ac:spMk id="3" creationId="{87D3E2EF-5F98-49EC-BCEA-B215D49920A3}"/>
            </ac:spMkLst>
          </pc:spChg>
          <pc:spChg chg="mod">
            <ac:chgData name="van Leeuwen  Sara (VPPL)" userId="7a5f1df4-0dd0-4c9e-a72f-a035cf318af6" providerId="ADAL" clId="{AAA37DE2-93D3-44F8-BE87-C19EC6771CD3}" dt="2023-09-21T07:58:44.473" v="5007" actId="790"/>
            <ac:spMkLst>
              <pc:docMk/>
              <pc:sldMasterMk cId="409606273" sldId="2147483648"/>
              <pc:sldLayoutMk cId="2096750995" sldId="2147483675"/>
              <ac:spMk id="4" creationId="{67DB21BA-81C0-43DB-A42C-5F672DBC37F2}"/>
            </ac:spMkLst>
          </pc:spChg>
          <pc:spChg chg="mod">
            <ac:chgData name="van Leeuwen  Sara (VPPL)" userId="7a5f1df4-0dd0-4c9e-a72f-a035cf318af6" providerId="ADAL" clId="{AAA37DE2-93D3-44F8-BE87-C19EC6771CD3}" dt="2023-09-21T08:01:07.515" v="12826" actId="790"/>
            <ac:spMkLst>
              <pc:docMk/>
              <pc:sldMasterMk cId="409606273" sldId="2147483648"/>
              <pc:sldLayoutMk cId="2096750995" sldId="2147483675"/>
              <ac:spMk id="5" creationId="{1BC78786-28C3-4EAB-A3FC-1A4BFA8447EC}"/>
            </ac:spMkLst>
          </pc:spChg>
          <pc:spChg chg="mod">
            <ac:chgData name="van Leeuwen  Sara (VPPL)" userId="7a5f1df4-0dd0-4c9e-a72f-a035cf318af6" providerId="ADAL" clId="{AAA37DE2-93D3-44F8-BE87-C19EC6771CD3}" dt="2023-09-21T07:58:44.489" v="5009" actId="790"/>
            <ac:spMkLst>
              <pc:docMk/>
              <pc:sldMasterMk cId="409606273" sldId="2147483648"/>
              <pc:sldLayoutMk cId="2096750995" sldId="2147483675"/>
              <ac:spMk id="6" creationId="{0FC1D5C1-A4AD-42D4-93B7-D3B71140E3A1}"/>
            </ac:spMkLst>
          </pc:spChg>
          <pc:spChg chg="add del mod modVis">
            <ac:chgData name="van Leeuwen  Sara (VPPL)" userId="7a5f1df4-0dd0-4c9e-a72f-a035cf318af6" providerId="ADAL" clId="{AAA37DE2-93D3-44F8-BE87-C19EC6771CD3}" dt="2023-09-21T08:01:08.125" v="15285" actId="478"/>
            <ac:spMkLst>
              <pc:docMk/>
              <pc:sldMasterMk cId="409606273" sldId="2147483648"/>
              <pc:sldLayoutMk cId="2096750995" sldId="2147483675"/>
              <ac:spMk id="8" creationId="{38CFC843-F622-3A11-94EB-E8A9B5219979}"/>
            </ac:spMkLst>
          </pc:spChg>
          <pc:spChg chg="mod">
            <ac:chgData name="van Leeuwen  Sara (VPPL)" userId="7a5f1df4-0dd0-4c9e-a72f-a035cf318af6" providerId="ADAL" clId="{AAA37DE2-93D3-44F8-BE87-C19EC6771CD3}" dt="2023-09-21T07:58:44.489" v="5010" actId="790"/>
            <ac:spMkLst>
              <pc:docMk/>
              <pc:sldMasterMk cId="409606273" sldId="2147483648"/>
              <pc:sldLayoutMk cId="2096750995" sldId="2147483675"/>
              <ac:spMk id="9" creationId="{A1D947E6-CC00-458E-BDE1-B0877E30333C}"/>
            </ac:spMkLst>
          </pc:spChg>
          <pc:graphicFrameChg chg="mod">
            <ac:chgData name="van Leeuwen  Sara (VPPL)" userId="7a5f1df4-0dd0-4c9e-a72f-a035cf318af6" providerId="ADAL" clId="{AAA37DE2-93D3-44F8-BE87-C19EC6771CD3}" dt="2023-09-21T08:01:08.251" v="15388"/>
            <ac:graphicFrameMkLst>
              <pc:docMk/>
              <pc:sldMasterMk cId="409606273" sldId="2147483648"/>
              <pc:sldLayoutMk cId="2096750995" sldId="2147483675"/>
              <ac:graphicFrameMk id="10" creationId="{899DC44F-C574-5B2D-93A0-C3BBD5A7F4C4}"/>
            </ac:graphicFrameMkLst>
          </pc:graphicFrameChg>
        </pc:sldLayoutChg>
        <pc:sldLayoutChg chg="modSp mod">
          <pc:chgData name="van Leeuwen  Sara (VPPL)" userId="7a5f1df4-0dd0-4c9e-a72f-a035cf318af6" providerId="ADAL" clId="{AAA37DE2-93D3-44F8-BE87-C19EC6771CD3}" dt="2023-09-21T08:01:08.266" v="15390"/>
          <pc:sldLayoutMkLst>
            <pc:docMk/>
            <pc:sldMasterMk cId="409606273" sldId="2147483648"/>
            <pc:sldLayoutMk cId="3039831707" sldId="2147483676"/>
          </pc:sldLayoutMkLst>
          <pc:spChg chg="mod">
            <ac:chgData name="van Leeuwen  Sara (VPPL)" userId="7a5f1df4-0dd0-4c9e-a72f-a035cf318af6" providerId="ADAL" clId="{AAA37DE2-93D3-44F8-BE87-C19EC6771CD3}" dt="2023-09-21T07:58:44.489" v="5011" actId="790"/>
            <ac:spMkLst>
              <pc:docMk/>
              <pc:sldMasterMk cId="409606273" sldId="2147483648"/>
              <pc:sldLayoutMk cId="3039831707" sldId="2147483676"/>
              <ac:spMk id="20" creationId="{394B20FF-3667-40DF-92A1-C6CF3BBCA26D}"/>
            </ac:spMkLst>
          </pc:spChg>
          <pc:spChg chg="mod">
            <ac:chgData name="van Leeuwen  Sara (VPPL)" userId="7a5f1df4-0dd0-4c9e-a72f-a035cf318af6" providerId="ADAL" clId="{AAA37DE2-93D3-44F8-BE87-C19EC6771CD3}" dt="2023-09-21T07:58:44.489" v="5012" actId="790"/>
            <ac:spMkLst>
              <pc:docMk/>
              <pc:sldMasterMk cId="409606273" sldId="2147483648"/>
              <pc:sldLayoutMk cId="3039831707" sldId="2147483676"/>
              <ac:spMk id="21" creationId="{794484F1-3B7F-46CE-AD0B-2310A557A990}"/>
            </ac:spMkLst>
          </pc:spChg>
          <pc:graphicFrameChg chg="mod">
            <ac:chgData name="van Leeuwen  Sara (VPPL)" userId="7a5f1df4-0dd0-4c9e-a72f-a035cf318af6" providerId="ADAL" clId="{AAA37DE2-93D3-44F8-BE87-C19EC6771CD3}" dt="2023-09-21T08:01:08.266" v="15390"/>
            <ac:graphicFrameMkLst>
              <pc:docMk/>
              <pc:sldMasterMk cId="409606273" sldId="2147483648"/>
              <pc:sldLayoutMk cId="3039831707" sldId="2147483676"/>
              <ac:graphicFrameMk id="2" creationId="{7F5A84A5-5D39-FE48-9BDA-C1D259F9FD3D}"/>
            </ac:graphicFrameMkLst>
          </pc:graphicFrameChg>
        </pc:sldLayoutChg>
        <pc:sldLayoutChg chg="addSp delSp modSp mod">
          <pc:chgData name="van Leeuwen  Sara (VPPL)" userId="7a5f1df4-0dd0-4c9e-a72f-a035cf318af6" providerId="ADAL" clId="{AAA37DE2-93D3-44F8-BE87-C19EC6771CD3}" dt="2023-09-21T08:01:08.219" v="15368"/>
          <pc:sldLayoutMkLst>
            <pc:docMk/>
            <pc:sldMasterMk cId="409606273" sldId="2147483648"/>
            <pc:sldLayoutMk cId="2582942470" sldId="2147483678"/>
          </pc:sldLayoutMkLst>
          <pc:spChg chg="mod">
            <ac:chgData name="van Leeuwen  Sara (VPPL)" userId="7a5f1df4-0dd0-4c9e-a72f-a035cf318af6" providerId="ADAL" clId="{AAA37DE2-93D3-44F8-BE87-C19EC6771CD3}" dt="2023-09-21T08:01:07.842" v="14119" actId="948"/>
            <ac:spMkLst>
              <pc:docMk/>
              <pc:sldMasterMk cId="409606273" sldId="2147483648"/>
              <pc:sldLayoutMk cId="2582942470" sldId="2147483678"/>
              <ac:spMk id="2" creationId="{3491294E-BEE7-4DA8-BBC8-88E1A7B07AEF}"/>
            </ac:spMkLst>
          </pc:spChg>
          <pc:spChg chg="add del mod modVis">
            <ac:chgData name="van Leeuwen  Sara (VPPL)" userId="7a5f1df4-0dd0-4c9e-a72f-a035cf318af6" providerId="ADAL" clId="{AAA37DE2-93D3-44F8-BE87-C19EC6771CD3}" dt="2023-09-21T08:01:08.125" v="15272" actId="478"/>
            <ac:spMkLst>
              <pc:docMk/>
              <pc:sldMasterMk cId="409606273" sldId="2147483648"/>
              <pc:sldLayoutMk cId="2582942470" sldId="2147483678"/>
              <ac:spMk id="3" creationId="{1E7ED517-E604-2A5F-B57D-AE708A3EE504}"/>
            </ac:spMkLst>
          </pc:spChg>
          <pc:spChg chg="mod">
            <ac:chgData name="van Leeuwen  Sara (VPPL)" userId="7a5f1df4-0dd0-4c9e-a72f-a035cf318af6" providerId="ADAL" clId="{AAA37DE2-93D3-44F8-BE87-C19EC6771CD3}" dt="2023-09-21T07:58:44.267" v="4900" actId="790"/>
            <ac:spMkLst>
              <pc:docMk/>
              <pc:sldMasterMk cId="409606273" sldId="2147483648"/>
              <pc:sldLayoutMk cId="2582942470" sldId="2147483678"/>
              <ac:spMk id="4" creationId="{EE41BE31-9613-4103-99FF-7DCFF643B329}"/>
            </ac:spMkLst>
          </pc:spChg>
          <pc:spChg chg="mod">
            <ac:chgData name="van Leeuwen  Sara (VPPL)" userId="7a5f1df4-0dd0-4c9e-a72f-a035cf318af6" providerId="ADAL" clId="{AAA37DE2-93D3-44F8-BE87-C19EC6771CD3}" dt="2023-09-21T07:58:44.251" v="4897" actId="790"/>
            <ac:spMkLst>
              <pc:docMk/>
              <pc:sldMasterMk cId="409606273" sldId="2147483648"/>
              <pc:sldLayoutMk cId="2582942470" sldId="2147483678"/>
              <ac:spMk id="5" creationId="{EB061823-3F7A-48C8-8477-B410C18AC1B7}"/>
            </ac:spMkLst>
          </pc:spChg>
          <pc:spChg chg="mod">
            <ac:chgData name="van Leeuwen  Sara (VPPL)" userId="7a5f1df4-0dd0-4c9e-a72f-a035cf318af6" providerId="ADAL" clId="{AAA37DE2-93D3-44F8-BE87-C19EC6771CD3}" dt="2023-09-21T07:58:44.267" v="4901" actId="790"/>
            <ac:spMkLst>
              <pc:docMk/>
              <pc:sldMasterMk cId="409606273" sldId="2147483648"/>
              <pc:sldLayoutMk cId="2582942470" sldId="2147483678"/>
              <ac:spMk id="6" creationId="{EDEB298C-798E-4D73-9DD6-F896C06530C1}"/>
            </ac:spMkLst>
          </pc:spChg>
          <pc:spChg chg="mod">
            <ac:chgData name="van Leeuwen  Sara (VPPL)" userId="7a5f1df4-0dd0-4c9e-a72f-a035cf318af6" providerId="ADAL" clId="{AAA37DE2-93D3-44F8-BE87-C19EC6771CD3}" dt="2023-09-21T07:58:44.267" v="4899" actId="790"/>
            <ac:spMkLst>
              <pc:docMk/>
              <pc:sldMasterMk cId="409606273" sldId="2147483648"/>
              <pc:sldLayoutMk cId="2582942470" sldId="2147483678"/>
              <ac:spMk id="9" creationId="{C3C296D1-2CD0-479F-A866-6EC741D2293B}"/>
            </ac:spMkLst>
          </pc:spChg>
          <pc:graphicFrameChg chg="mod">
            <ac:chgData name="van Leeuwen  Sara (VPPL)" userId="7a5f1df4-0dd0-4c9e-a72f-a035cf318af6" providerId="ADAL" clId="{AAA37DE2-93D3-44F8-BE87-C19EC6771CD3}" dt="2023-09-21T08:01:08.219" v="15368"/>
            <ac:graphicFrameMkLst>
              <pc:docMk/>
              <pc:sldMasterMk cId="409606273" sldId="2147483648"/>
              <pc:sldLayoutMk cId="2582942470" sldId="2147483678"/>
              <ac:graphicFrameMk id="7" creationId="{B07E5EDB-4F3E-683F-C9F4-54873E5EF298}"/>
            </ac:graphicFrameMkLst>
          </pc:graphicFrameChg>
        </pc:sldLayoutChg>
        <pc:sldLayoutChg chg="addSp delSp modSp mod">
          <pc:chgData name="van Leeuwen  Sara (VPPL)" userId="7a5f1df4-0dd0-4c9e-a72f-a035cf318af6" providerId="ADAL" clId="{AAA37DE2-93D3-44F8-BE87-C19EC6771CD3}" dt="2023-09-21T08:01:08.282" v="15398"/>
          <pc:sldLayoutMkLst>
            <pc:docMk/>
            <pc:sldMasterMk cId="409606273" sldId="2147483648"/>
            <pc:sldLayoutMk cId="2745712561" sldId="2147483679"/>
          </pc:sldLayoutMkLst>
          <pc:spChg chg="mod">
            <ac:chgData name="van Leeuwen  Sara (VPPL)" userId="7a5f1df4-0dd0-4c9e-a72f-a035cf318af6" providerId="ADAL" clId="{AAA37DE2-93D3-44F8-BE87-C19EC6771CD3}" dt="2023-09-21T08:01:07.952" v="14515" actId="948"/>
            <ac:spMkLst>
              <pc:docMk/>
              <pc:sldMasterMk cId="409606273" sldId="2147483648"/>
              <pc:sldLayoutMk cId="2745712561" sldId="2147483679"/>
              <ac:spMk id="2" creationId="{3491294E-BEE7-4DA8-BBC8-88E1A7B07AEF}"/>
            </ac:spMkLst>
          </pc:spChg>
          <pc:spChg chg="add del mod modVis">
            <ac:chgData name="van Leeuwen  Sara (VPPL)" userId="7a5f1df4-0dd0-4c9e-a72f-a035cf318af6" providerId="ADAL" clId="{AAA37DE2-93D3-44F8-BE87-C19EC6771CD3}" dt="2023-09-21T08:01:08.141" v="15296" actId="478"/>
            <ac:spMkLst>
              <pc:docMk/>
              <pc:sldMasterMk cId="409606273" sldId="2147483648"/>
              <pc:sldLayoutMk cId="2745712561" sldId="2147483679"/>
              <ac:spMk id="3" creationId="{93CC353D-9D9B-A528-41D2-E417B5D3E553}"/>
            </ac:spMkLst>
          </pc:spChg>
          <pc:spChg chg="mod">
            <ac:chgData name="van Leeuwen  Sara (VPPL)" userId="7a5f1df4-0dd0-4c9e-a72f-a035cf318af6" providerId="ADAL" clId="{AAA37DE2-93D3-44F8-BE87-C19EC6771CD3}" dt="2023-09-21T07:58:44.283" v="4906" actId="790"/>
            <ac:spMkLst>
              <pc:docMk/>
              <pc:sldMasterMk cId="409606273" sldId="2147483648"/>
              <pc:sldLayoutMk cId="2745712561" sldId="2147483679"/>
              <ac:spMk id="8" creationId="{547D2927-4A99-4714-8EBA-F773EAA26308}"/>
            </ac:spMkLst>
          </pc:spChg>
          <pc:spChg chg="mod">
            <ac:chgData name="van Leeuwen  Sara (VPPL)" userId="7a5f1df4-0dd0-4c9e-a72f-a035cf318af6" providerId="ADAL" clId="{AAA37DE2-93D3-44F8-BE87-C19EC6771CD3}" dt="2023-09-21T07:58:44.283" v="4904" actId="790"/>
            <ac:spMkLst>
              <pc:docMk/>
              <pc:sldMasterMk cId="409606273" sldId="2147483648"/>
              <pc:sldLayoutMk cId="2745712561" sldId="2147483679"/>
              <ac:spMk id="9" creationId="{003A487C-8977-4264-A8A1-D6C1DB604682}"/>
            </ac:spMkLst>
          </pc:spChg>
          <pc:spChg chg="mod">
            <ac:chgData name="van Leeuwen  Sara (VPPL)" userId="7a5f1df4-0dd0-4c9e-a72f-a035cf318af6" providerId="ADAL" clId="{AAA37DE2-93D3-44F8-BE87-C19EC6771CD3}" dt="2023-09-21T07:58:44.267" v="4902" actId="790"/>
            <ac:spMkLst>
              <pc:docMk/>
              <pc:sldMasterMk cId="409606273" sldId="2147483648"/>
              <pc:sldLayoutMk cId="2745712561" sldId="2147483679"/>
              <ac:spMk id="11" creationId="{8A01615F-450E-43D0-B554-DA3FBD48DF34}"/>
            </ac:spMkLst>
          </pc:spChg>
          <pc:spChg chg="mod">
            <ac:chgData name="van Leeuwen  Sara (VPPL)" userId="7a5f1df4-0dd0-4c9e-a72f-a035cf318af6" providerId="ADAL" clId="{AAA37DE2-93D3-44F8-BE87-C19EC6771CD3}" dt="2023-09-21T07:58:44.283" v="4905" actId="790"/>
            <ac:spMkLst>
              <pc:docMk/>
              <pc:sldMasterMk cId="409606273" sldId="2147483648"/>
              <pc:sldLayoutMk cId="2745712561" sldId="2147483679"/>
              <ac:spMk id="13" creationId="{E91D3734-CD8F-4F94-A813-570EF31C4732}"/>
            </ac:spMkLst>
          </pc:spChg>
          <pc:graphicFrameChg chg="mod">
            <ac:chgData name="van Leeuwen  Sara (VPPL)" userId="7a5f1df4-0dd0-4c9e-a72f-a035cf318af6" providerId="ADAL" clId="{AAA37DE2-93D3-44F8-BE87-C19EC6771CD3}" dt="2023-09-21T08:01:08.282" v="15398"/>
            <ac:graphicFrameMkLst>
              <pc:docMk/>
              <pc:sldMasterMk cId="409606273" sldId="2147483648"/>
              <pc:sldLayoutMk cId="2745712561" sldId="2147483679"/>
              <ac:graphicFrameMk id="4" creationId="{71D032AB-E3F2-C9C2-3D41-29B4E131A95C}"/>
            </ac:graphicFrameMkLst>
          </pc:graphicFrameChg>
        </pc:sldLayoutChg>
        <pc:sldLayoutChg chg="addSp delSp modSp mod">
          <pc:chgData name="van Leeuwen  Sara (VPPL)" userId="7a5f1df4-0dd0-4c9e-a72f-a035cf318af6" providerId="ADAL" clId="{AAA37DE2-93D3-44F8-BE87-C19EC6771CD3}" dt="2023-09-21T08:01:08.266" v="15392"/>
          <pc:sldLayoutMkLst>
            <pc:docMk/>
            <pc:sldMasterMk cId="409606273" sldId="2147483648"/>
            <pc:sldLayoutMk cId="1333595292" sldId="2147483680"/>
          </pc:sldLayoutMkLst>
          <pc:spChg chg="mod">
            <ac:chgData name="van Leeuwen  Sara (VPPL)" userId="7a5f1df4-0dd0-4c9e-a72f-a035cf318af6" providerId="ADAL" clId="{AAA37DE2-93D3-44F8-BE87-C19EC6771CD3}" dt="2023-09-21T08:01:07.921" v="14371" actId="948"/>
            <ac:spMkLst>
              <pc:docMk/>
              <pc:sldMasterMk cId="409606273" sldId="2147483648"/>
              <pc:sldLayoutMk cId="1333595292" sldId="2147483680"/>
              <ac:spMk id="2" creationId="{3491294E-BEE7-4DA8-BBC8-88E1A7B07AEF}"/>
            </ac:spMkLst>
          </pc:spChg>
          <pc:spChg chg="mod">
            <ac:chgData name="van Leeuwen  Sara (VPPL)" userId="7a5f1df4-0dd0-4c9e-a72f-a035cf318af6" providerId="ADAL" clId="{AAA37DE2-93D3-44F8-BE87-C19EC6771CD3}" dt="2023-09-21T08:01:07.464" v="12728" actId="20577"/>
            <ac:spMkLst>
              <pc:docMk/>
              <pc:sldMasterMk cId="409606273" sldId="2147483648"/>
              <pc:sldLayoutMk cId="1333595292" sldId="2147483680"/>
              <ac:spMk id="3" creationId="{62D94F76-218E-49F2-87F8-05982912ED18}"/>
            </ac:spMkLst>
          </pc:spChg>
          <pc:spChg chg="add del mod modVis">
            <ac:chgData name="van Leeuwen  Sara (VPPL)" userId="7a5f1df4-0dd0-4c9e-a72f-a035cf318af6" providerId="ADAL" clId="{AAA37DE2-93D3-44F8-BE87-C19EC6771CD3}" dt="2023-09-21T08:01:08.125" v="15288" actId="478"/>
            <ac:spMkLst>
              <pc:docMk/>
              <pc:sldMasterMk cId="409606273" sldId="2147483648"/>
              <pc:sldLayoutMk cId="1333595292" sldId="2147483680"/>
              <ac:spMk id="4" creationId="{11A51E4A-91B4-8D14-3C8D-96CB4F13D00C}"/>
            </ac:spMkLst>
          </pc:spChg>
          <pc:spChg chg="mod">
            <ac:chgData name="van Leeuwen  Sara (VPPL)" userId="7a5f1df4-0dd0-4c9e-a72f-a035cf318af6" providerId="ADAL" clId="{AAA37DE2-93D3-44F8-BE87-C19EC6771CD3}" dt="2023-09-21T07:58:44.299" v="4912" actId="790"/>
            <ac:spMkLst>
              <pc:docMk/>
              <pc:sldMasterMk cId="409606273" sldId="2147483648"/>
              <pc:sldLayoutMk cId="1333595292" sldId="2147483680"/>
              <ac:spMk id="7" creationId="{0503E57F-F89F-431B-8D38-7CC97B7C201A}"/>
            </ac:spMkLst>
          </pc:spChg>
          <pc:spChg chg="mod">
            <ac:chgData name="van Leeuwen  Sara (VPPL)" userId="7a5f1df4-0dd0-4c9e-a72f-a035cf318af6" providerId="ADAL" clId="{AAA37DE2-93D3-44F8-BE87-C19EC6771CD3}" dt="2023-09-21T07:58:44.299" v="4914" actId="790"/>
            <ac:spMkLst>
              <pc:docMk/>
              <pc:sldMasterMk cId="409606273" sldId="2147483648"/>
              <pc:sldLayoutMk cId="1333595292" sldId="2147483680"/>
              <ac:spMk id="8" creationId="{4ADF7DEC-21BD-45CA-9E91-B9F58A69F621}"/>
            </ac:spMkLst>
          </pc:spChg>
          <pc:spChg chg="mod">
            <ac:chgData name="van Leeuwen  Sara (VPPL)" userId="7a5f1df4-0dd0-4c9e-a72f-a035cf318af6" providerId="ADAL" clId="{AAA37DE2-93D3-44F8-BE87-C19EC6771CD3}" dt="2023-09-21T07:58:44.299" v="4913" actId="790"/>
            <ac:spMkLst>
              <pc:docMk/>
              <pc:sldMasterMk cId="409606273" sldId="2147483648"/>
              <pc:sldLayoutMk cId="1333595292" sldId="2147483680"/>
              <ac:spMk id="12" creationId="{1BEB6197-C509-4752-B57E-CEE955F5D926}"/>
            </ac:spMkLst>
          </pc:spChg>
          <pc:graphicFrameChg chg="mod">
            <ac:chgData name="van Leeuwen  Sara (VPPL)" userId="7a5f1df4-0dd0-4c9e-a72f-a035cf318af6" providerId="ADAL" clId="{AAA37DE2-93D3-44F8-BE87-C19EC6771CD3}" dt="2023-09-21T08:01:08.266" v="15392"/>
            <ac:graphicFrameMkLst>
              <pc:docMk/>
              <pc:sldMasterMk cId="409606273" sldId="2147483648"/>
              <pc:sldLayoutMk cId="1333595292" sldId="2147483680"/>
              <ac:graphicFrameMk id="5" creationId="{40DA53BB-66D9-7F73-CECF-6387E332825A}"/>
            </ac:graphicFrameMkLst>
          </pc:graphicFrameChg>
        </pc:sldLayoutChg>
        <pc:sldLayoutChg chg="addSp delSp modSp mod">
          <pc:chgData name="van Leeuwen  Sara (VPPL)" userId="7a5f1df4-0dd0-4c9e-a72f-a035cf318af6" providerId="ADAL" clId="{AAA37DE2-93D3-44F8-BE87-C19EC6771CD3}" dt="2023-09-21T08:01:08.266" v="15394"/>
          <pc:sldLayoutMkLst>
            <pc:docMk/>
            <pc:sldMasterMk cId="409606273" sldId="2147483648"/>
            <pc:sldLayoutMk cId="3987581940" sldId="2147483681"/>
          </pc:sldLayoutMkLst>
          <pc:spChg chg="mod">
            <ac:chgData name="van Leeuwen  Sara (VPPL)" userId="7a5f1df4-0dd0-4c9e-a72f-a035cf318af6" providerId="ADAL" clId="{AAA37DE2-93D3-44F8-BE87-C19EC6771CD3}" dt="2023-09-21T08:01:07.921" v="14407" actId="948"/>
            <ac:spMkLst>
              <pc:docMk/>
              <pc:sldMasterMk cId="409606273" sldId="2147483648"/>
              <pc:sldLayoutMk cId="3987581940" sldId="2147483681"/>
              <ac:spMk id="2" creationId="{3491294E-BEE7-4DA8-BBC8-88E1A7B07AEF}"/>
            </ac:spMkLst>
          </pc:spChg>
          <pc:spChg chg="add del mod modVis">
            <ac:chgData name="van Leeuwen  Sara (VPPL)" userId="7a5f1df4-0dd0-4c9e-a72f-a035cf318af6" providerId="ADAL" clId="{AAA37DE2-93D3-44F8-BE87-C19EC6771CD3}" dt="2023-09-21T08:01:08.125" v="15290" actId="478"/>
            <ac:spMkLst>
              <pc:docMk/>
              <pc:sldMasterMk cId="409606273" sldId="2147483648"/>
              <pc:sldLayoutMk cId="3987581940" sldId="2147483681"/>
              <ac:spMk id="3" creationId="{B68142DF-991D-EA6D-DA02-72A578D305F9}"/>
            </ac:spMkLst>
          </pc:spChg>
          <pc:spChg chg="mod">
            <ac:chgData name="van Leeuwen  Sara (VPPL)" userId="7a5f1df4-0dd0-4c9e-a72f-a035cf318af6" providerId="ADAL" clId="{AAA37DE2-93D3-44F8-BE87-C19EC6771CD3}" dt="2023-09-21T07:58:44.299" v="4916" actId="790"/>
            <ac:spMkLst>
              <pc:docMk/>
              <pc:sldMasterMk cId="409606273" sldId="2147483648"/>
              <pc:sldLayoutMk cId="3987581940" sldId="2147483681"/>
              <ac:spMk id="6" creationId="{5FCAD79B-EF47-46A0-9575-229F3DAA72F5}"/>
            </ac:spMkLst>
          </pc:spChg>
          <pc:spChg chg="mod">
            <ac:chgData name="van Leeuwen  Sara (VPPL)" userId="7a5f1df4-0dd0-4c9e-a72f-a035cf318af6" providerId="ADAL" clId="{AAA37DE2-93D3-44F8-BE87-C19EC6771CD3}" dt="2023-09-21T07:58:44.314" v="4918" actId="790"/>
            <ac:spMkLst>
              <pc:docMk/>
              <pc:sldMasterMk cId="409606273" sldId="2147483648"/>
              <pc:sldLayoutMk cId="3987581940" sldId="2147483681"/>
              <ac:spMk id="7" creationId="{789A3267-E086-4EC3-A0BB-F8ECD01A5C7E}"/>
            </ac:spMkLst>
          </pc:spChg>
          <pc:spChg chg="mod">
            <ac:chgData name="van Leeuwen  Sara (VPPL)" userId="7a5f1df4-0dd0-4c9e-a72f-a035cf318af6" providerId="ADAL" clId="{AAA37DE2-93D3-44F8-BE87-C19EC6771CD3}" dt="2023-09-21T07:58:44.314" v="4917" actId="790"/>
            <ac:spMkLst>
              <pc:docMk/>
              <pc:sldMasterMk cId="409606273" sldId="2147483648"/>
              <pc:sldLayoutMk cId="3987581940" sldId="2147483681"/>
              <ac:spMk id="8" creationId="{72236FC6-C8FF-43C1-86B9-BF112345926F}"/>
            </ac:spMkLst>
          </pc:spChg>
          <pc:graphicFrameChg chg="mod">
            <ac:chgData name="van Leeuwen  Sara (VPPL)" userId="7a5f1df4-0dd0-4c9e-a72f-a035cf318af6" providerId="ADAL" clId="{AAA37DE2-93D3-44F8-BE87-C19EC6771CD3}" dt="2023-09-21T08:01:08.266" v="15394"/>
            <ac:graphicFrameMkLst>
              <pc:docMk/>
              <pc:sldMasterMk cId="409606273" sldId="2147483648"/>
              <pc:sldLayoutMk cId="3987581940" sldId="2147483681"/>
              <ac:graphicFrameMk id="4" creationId="{6F3A83FC-24AD-6BCE-AF56-A1CFBE66824B}"/>
            </ac:graphicFrameMkLst>
          </pc:graphicFrameChg>
        </pc:sldLayoutChg>
        <pc:sldLayoutChg chg="addSp delSp modSp mod">
          <pc:chgData name="van Leeuwen  Sara (VPPL)" userId="7a5f1df4-0dd0-4c9e-a72f-a035cf318af6" providerId="ADAL" clId="{AAA37DE2-93D3-44F8-BE87-C19EC6771CD3}" dt="2023-09-21T08:01:08.266" v="15396"/>
          <pc:sldLayoutMkLst>
            <pc:docMk/>
            <pc:sldMasterMk cId="409606273" sldId="2147483648"/>
            <pc:sldLayoutMk cId="3929383066" sldId="2147483682"/>
          </pc:sldLayoutMkLst>
          <pc:spChg chg="mod">
            <ac:chgData name="van Leeuwen  Sara (VPPL)" userId="7a5f1df4-0dd0-4c9e-a72f-a035cf318af6" providerId="ADAL" clId="{AAA37DE2-93D3-44F8-BE87-C19EC6771CD3}" dt="2023-09-21T08:01:07.937" v="14443" actId="948"/>
            <ac:spMkLst>
              <pc:docMk/>
              <pc:sldMasterMk cId="409606273" sldId="2147483648"/>
              <pc:sldLayoutMk cId="3929383066" sldId="2147483682"/>
              <ac:spMk id="2" creationId="{3491294E-BEE7-4DA8-BBC8-88E1A7B07AEF}"/>
            </ac:spMkLst>
          </pc:spChg>
          <pc:spChg chg="add del mod modVis">
            <ac:chgData name="van Leeuwen  Sara (VPPL)" userId="7a5f1df4-0dd0-4c9e-a72f-a035cf318af6" providerId="ADAL" clId="{AAA37DE2-93D3-44F8-BE87-C19EC6771CD3}" dt="2023-09-21T08:01:08.125" v="15292" actId="478"/>
            <ac:spMkLst>
              <pc:docMk/>
              <pc:sldMasterMk cId="409606273" sldId="2147483648"/>
              <pc:sldLayoutMk cId="3929383066" sldId="2147483682"/>
              <ac:spMk id="3" creationId="{5F420319-18FB-8551-CAFB-087BD0D3175D}"/>
            </ac:spMkLst>
          </pc:spChg>
          <pc:spChg chg="mod">
            <ac:chgData name="van Leeuwen  Sara (VPPL)" userId="7a5f1df4-0dd0-4c9e-a72f-a035cf318af6" providerId="ADAL" clId="{AAA37DE2-93D3-44F8-BE87-C19EC6771CD3}" dt="2023-09-21T07:58:44.314" v="4919" actId="790"/>
            <ac:spMkLst>
              <pc:docMk/>
              <pc:sldMasterMk cId="409606273" sldId="2147483648"/>
              <pc:sldLayoutMk cId="3929383066" sldId="2147483682"/>
              <ac:spMk id="5" creationId="{EB061823-3F7A-48C8-8477-B410C18AC1B7}"/>
            </ac:spMkLst>
          </pc:spChg>
          <pc:spChg chg="mod">
            <ac:chgData name="van Leeuwen  Sara (VPPL)" userId="7a5f1df4-0dd0-4c9e-a72f-a035cf318af6" providerId="ADAL" clId="{AAA37DE2-93D3-44F8-BE87-C19EC6771CD3}" dt="2023-09-21T07:58:44.314" v="4921" actId="790"/>
            <ac:spMkLst>
              <pc:docMk/>
              <pc:sldMasterMk cId="409606273" sldId="2147483648"/>
              <pc:sldLayoutMk cId="3929383066" sldId="2147483682"/>
              <ac:spMk id="7" creationId="{D364BCB8-820F-4C3A-BA37-7048A4C8D4C3}"/>
            </ac:spMkLst>
          </pc:spChg>
          <pc:spChg chg="mod">
            <ac:chgData name="van Leeuwen  Sara (VPPL)" userId="7a5f1df4-0dd0-4c9e-a72f-a035cf318af6" providerId="ADAL" clId="{AAA37DE2-93D3-44F8-BE87-C19EC6771CD3}" dt="2023-09-21T07:58:44.330" v="4923" actId="790"/>
            <ac:spMkLst>
              <pc:docMk/>
              <pc:sldMasterMk cId="409606273" sldId="2147483648"/>
              <pc:sldLayoutMk cId="3929383066" sldId="2147483682"/>
              <ac:spMk id="9" creationId="{791A1AD7-DB7D-4C75-BEFB-EB6D34D3B2AB}"/>
            </ac:spMkLst>
          </pc:spChg>
          <pc:spChg chg="mod">
            <ac:chgData name="van Leeuwen  Sara (VPPL)" userId="7a5f1df4-0dd0-4c9e-a72f-a035cf318af6" providerId="ADAL" clId="{AAA37DE2-93D3-44F8-BE87-C19EC6771CD3}" dt="2023-09-21T07:58:44.314" v="4922" actId="790"/>
            <ac:spMkLst>
              <pc:docMk/>
              <pc:sldMasterMk cId="409606273" sldId="2147483648"/>
              <pc:sldLayoutMk cId="3929383066" sldId="2147483682"/>
              <ac:spMk id="11" creationId="{A73913C2-8DFE-4F15-B2DB-2A6D5C267009}"/>
            </ac:spMkLst>
          </pc:spChg>
          <pc:graphicFrameChg chg="mod">
            <ac:chgData name="van Leeuwen  Sara (VPPL)" userId="7a5f1df4-0dd0-4c9e-a72f-a035cf318af6" providerId="ADAL" clId="{AAA37DE2-93D3-44F8-BE87-C19EC6771CD3}" dt="2023-09-21T08:01:08.266" v="15396"/>
            <ac:graphicFrameMkLst>
              <pc:docMk/>
              <pc:sldMasterMk cId="409606273" sldId="2147483648"/>
              <pc:sldLayoutMk cId="3929383066" sldId="2147483682"/>
              <ac:graphicFrameMk id="6" creationId="{904602C9-06E1-DF73-1C1F-D43792326339}"/>
            </ac:graphicFrameMkLst>
          </pc:graphicFrame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990000FF-34E5-DB47-BDDD-010B79D22DD1}" type="datetimeFigureOut">
              <a:rPr lang="en-GB" smtClean="0"/>
              <a:pPr/>
              <a:t>29/02/2024</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err="1"/>
              <a:t>Mastertextformat</a:t>
            </a:r>
            <a:r>
              <a:rPr lang="en-GB" dirty="0"/>
              <a:t> </a:t>
            </a:r>
            <a:r>
              <a:rPr lang="en-GB" dirty="0" err="1"/>
              <a:t>bearbeiten</a:t>
            </a:r>
            <a:endParaRPr lang="en-GB" dirty="0"/>
          </a:p>
          <a:p>
            <a:pPr lvl="1"/>
            <a:r>
              <a:rPr lang="en-GB" dirty="0" err="1"/>
              <a:t>Zweite</a:t>
            </a:r>
            <a:r>
              <a:rPr lang="en-GB" dirty="0"/>
              <a:t> Ebene</a:t>
            </a:r>
          </a:p>
          <a:p>
            <a:pPr lvl="2"/>
            <a:r>
              <a:rPr lang="en-GB" dirty="0" err="1"/>
              <a:t>Dritte</a:t>
            </a:r>
            <a:r>
              <a:rPr lang="en-GB" dirty="0"/>
              <a:t> Ebene</a:t>
            </a:r>
          </a:p>
          <a:p>
            <a:pPr lvl="3"/>
            <a:r>
              <a:rPr lang="en-GB" dirty="0" err="1"/>
              <a:t>Vierte</a:t>
            </a:r>
            <a:r>
              <a:rPr lang="en-GB" dirty="0"/>
              <a:t> Ebene</a:t>
            </a:r>
          </a:p>
          <a:p>
            <a:pPr lvl="4"/>
            <a:r>
              <a:rPr lang="en-GB" dirty="0" err="1"/>
              <a:t>Fünfte</a:t>
            </a:r>
            <a:r>
              <a:rPr lang="en-GB" dirty="0"/>
              <a:t>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49C27981-12E6-E341-99D3-6937B67364B5}" type="slidenum">
              <a:rPr lang="en-GB" smtClean="0"/>
              <a:pPr/>
              <a:t>‹#›</a:t>
            </a:fld>
            <a:endParaRPr lang="en-GB" dirty="0"/>
          </a:p>
        </p:txBody>
      </p:sp>
    </p:spTree>
    <p:extLst>
      <p:ext uri="{BB962C8B-B14F-4D97-AF65-F5344CB8AC3E}">
        <p14:creationId xmlns:p14="http://schemas.microsoft.com/office/powerpoint/2010/main" val="3736687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lgn="l"/>
            <a:fld id="{F615DDFD-030C-4D5A-B33E-3A7E7538D2BE}" type="slidenum">
              <a:rPr lang="en-GB" smtClean="0"/>
              <a:pPr algn="l"/>
              <a:t>1</a:t>
            </a:fld>
            <a:endParaRPr lang="en-GB" dirty="0"/>
          </a:p>
        </p:txBody>
      </p:sp>
    </p:spTree>
    <p:extLst>
      <p:ext uri="{BB962C8B-B14F-4D97-AF65-F5344CB8AC3E}">
        <p14:creationId xmlns:p14="http://schemas.microsoft.com/office/powerpoint/2010/main" val="3360004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0</a:t>
            </a:fld>
            <a:endParaRPr lang="en-GB" dirty="0"/>
          </a:p>
        </p:txBody>
      </p:sp>
    </p:spTree>
    <p:extLst>
      <p:ext uri="{BB962C8B-B14F-4D97-AF65-F5344CB8AC3E}">
        <p14:creationId xmlns:p14="http://schemas.microsoft.com/office/powerpoint/2010/main" val="2800289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615DDFD-030C-4D5A-B33E-3A7E7538D2BE}" type="slidenum">
              <a:rPr kumimoji="0" lang="en-GB" sz="1200" b="0" i="0" u="none" strike="noStrike" kern="1200" cap="none" spc="0" normalizeH="0" baseline="0" smtClean="0">
                <a:ln>
                  <a:noFill/>
                </a:ln>
                <a:solidFill>
                  <a:prstClr val="black"/>
                </a:solidFill>
                <a:effectLst/>
                <a:uLnTx/>
                <a:uFillTx/>
                <a:latin typeface="Calibri"/>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5952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2</a:t>
            </a:fld>
            <a:endParaRPr lang="en-GB" dirty="0"/>
          </a:p>
        </p:txBody>
      </p:sp>
    </p:spTree>
    <p:extLst>
      <p:ext uri="{BB962C8B-B14F-4D97-AF65-F5344CB8AC3E}">
        <p14:creationId xmlns:p14="http://schemas.microsoft.com/office/powerpoint/2010/main" val="1068019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3</a:t>
            </a:fld>
            <a:endParaRPr lang="en-GB" dirty="0"/>
          </a:p>
        </p:txBody>
      </p:sp>
    </p:spTree>
    <p:extLst>
      <p:ext uri="{BB962C8B-B14F-4D97-AF65-F5344CB8AC3E}">
        <p14:creationId xmlns:p14="http://schemas.microsoft.com/office/powerpoint/2010/main" val="27261116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4</a:t>
            </a:fld>
            <a:endParaRPr lang="en-GB" dirty="0"/>
          </a:p>
        </p:txBody>
      </p:sp>
    </p:spTree>
    <p:extLst>
      <p:ext uri="{BB962C8B-B14F-4D97-AF65-F5344CB8AC3E}">
        <p14:creationId xmlns:p14="http://schemas.microsoft.com/office/powerpoint/2010/main" val="8039182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5</a:t>
            </a:fld>
            <a:endParaRPr lang="en-GB" dirty="0"/>
          </a:p>
        </p:txBody>
      </p:sp>
    </p:spTree>
    <p:extLst>
      <p:ext uri="{BB962C8B-B14F-4D97-AF65-F5344CB8AC3E}">
        <p14:creationId xmlns:p14="http://schemas.microsoft.com/office/powerpoint/2010/main" val="4241429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6</a:t>
            </a:fld>
            <a:endParaRPr lang="en-GB" dirty="0"/>
          </a:p>
        </p:txBody>
      </p:sp>
    </p:spTree>
    <p:extLst>
      <p:ext uri="{BB962C8B-B14F-4D97-AF65-F5344CB8AC3E}">
        <p14:creationId xmlns:p14="http://schemas.microsoft.com/office/powerpoint/2010/main" val="17793089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7</a:t>
            </a:fld>
            <a:endParaRPr lang="en-GB" dirty="0"/>
          </a:p>
        </p:txBody>
      </p:sp>
    </p:spTree>
    <p:extLst>
      <p:ext uri="{BB962C8B-B14F-4D97-AF65-F5344CB8AC3E}">
        <p14:creationId xmlns:p14="http://schemas.microsoft.com/office/powerpoint/2010/main" val="37700583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18</a:t>
            </a:fld>
            <a:endParaRPr lang="en-GB" dirty="0"/>
          </a:p>
        </p:txBody>
      </p:sp>
    </p:spTree>
    <p:extLst>
      <p:ext uri="{BB962C8B-B14F-4D97-AF65-F5344CB8AC3E}">
        <p14:creationId xmlns:p14="http://schemas.microsoft.com/office/powerpoint/2010/main" val="566799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lgn="l"/>
            <a:fld id="{49C27981-12E6-E341-99D3-6937B67364B5}" type="slidenum">
              <a:rPr lang="en-GB" smtClean="0"/>
              <a:pPr algn="l"/>
              <a:t>19</a:t>
            </a:fld>
            <a:endParaRPr lang="en-GB" dirty="0"/>
          </a:p>
        </p:txBody>
      </p:sp>
    </p:spTree>
    <p:extLst>
      <p:ext uri="{BB962C8B-B14F-4D97-AF65-F5344CB8AC3E}">
        <p14:creationId xmlns:p14="http://schemas.microsoft.com/office/powerpoint/2010/main" val="2638902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a:t>
            </a:fld>
            <a:endParaRPr lang="en-GB" dirty="0"/>
          </a:p>
        </p:txBody>
      </p:sp>
    </p:spTree>
    <p:extLst>
      <p:ext uri="{BB962C8B-B14F-4D97-AF65-F5344CB8AC3E}">
        <p14:creationId xmlns:p14="http://schemas.microsoft.com/office/powerpoint/2010/main" val="2955354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0</a:t>
            </a:fld>
            <a:endParaRPr lang="en-GB" dirty="0"/>
          </a:p>
        </p:txBody>
      </p:sp>
    </p:spTree>
    <p:extLst>
      <p:ext uri="{BB962C8B-B14F-4D97-AF65-F5344CB8AC3E}">
        <p14:creationId xmlns:p14="http://schemas.microsoft.com/office/powerpoint/2010/main" val="15348438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1</a:t>
            </a:fld>
            <a:endParaRPr lang="en-GB" dirty="0"/>
          </a:p>
        </p:txBody>
      </p:sp>
    </p:spTree>
    <p:extLst>
      <p:ext uri="{BB962C8B-B14F-4D97-AF65-F5344CB8AC3E}">
        <p14:creationId xmlns:p14="http://schemas.microsoft.com/office/powerpoint/2010/main" val="3059266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2</a:t>
            </a:fld>
            <a:endParaRPr lang="en-GB" dirty="0"/>
          </a:p>
        </p:txBody>
      </p:sp>
    </p:spTree>
    <p:extLst>
      <p:ext uri="{BB962C8B-B14F-4D97-AF65-F5344CB8AC3E}">
        <p14:creationId xmlns:p14="http://schemas.microsoft.com/office/powerpoint/2010/main" val="24812252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3</a:t>
            </a:fld>
            <a:endParaRPr lang="en-GB" dirty="0"/>
          </a:p>
        </p:txBody>
      </p:sp>
    </p:spTree>
    <p:extLst>
      <p:ext uri="{BB962C8B-B14F-4D97-AF65-F5344CB8AC3E}">
        <p14:creationId xmlns:p14="http://schemas.microsoft.com/office/powerpoint/2010/main" val="2362761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4</a:t>
            </a:fld>
            <a:endParaRPr lang="en-GB" dirty="0"/>
          </a:p>
        </p:txBody>
      </p:sp>
    </p:spTree>
    <p:extLst>
      <p:ext uri="{BB962C8B-B14F-4D97-AF65-F5344CB8AC3E}">
        <p14:creationId xmlns:p14="http://schemas.microsoft.com/office/powerpoint/2010/main" val="25130549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5</a:t>
            </a:fld>
            <a:endParaRPr lang="en-GB" dirty="0"/>
          </a:p>
        </p:txBody>
      </p:sp>
    </p:spTree>
    <p:extLst>
      <p:ext uri="{BB962C8B-B14F-4D97-AF65-F5344CB8AC3E}">
        <p14:creationId xmlns:p14="http://schemas.microsoft.com/office/powerpoint/2010/main" val="4203728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lgn="l"/>
            <a:fld id="{49C27981-12E6-E341-99D3-6937B67364B5}" type="slidenum">
              <a:rPr lang="en-GB" smtClean="0"/>
              <a:pPr algn="l"/>
              <a:t>26</a:t>
            </a:fld>
            <a:endParaRPr lang="en-GB" dirty="0"/>
          </a:p>
        </p:txBody>
      </p:sp>
    </p:spTree>
    <p:extLst>
      <p:ext uri="{BB962C8B-B14F-4D97-AF65-F5344CB8AC3E}">
        <p14:creationId xmlns:p14="http://schemas.microsoft.com/office/powerpoint/2010/main" val="21347506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7</a:t>
            </a:fld>
            <a:endParaRPr lang="en-GB" dirty="0"/>
          </a:p>
        </p:txBody>
      </p:sp>
    </p:spTree>
    <p:extLst>
      <p:ext uri="{BB962C8B-B14F-4D97-AF65-F5344CB8AC3E}">
        <p14:creationId xmlns:p14="http://schemas.microsoft.com/office/powerpoint/2010/main" val="26538079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28</a:t>
            </a:fld>
            <a:endParaRPr lang="en-GB" dirty="0"/>
          </a:p>
        </p:txBody>
      </p:sp>
    </p:spTree>
    <p:extLst>
      <p:ext uri="{BB962C8B-B14F-4D97-AF65-F5344CB8AC3E}">
        <p14:creationId xmlns:p14="http://schemas.microsoft.com/office/powerpoint/2010/main" val="3644249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lgn="l"/>
            <a:fld id="{49C27981-12E6-E341-99D3-6937B67364B5}" type="slidenum">
              <a:rPr lang="en-GB" smtClean="0"/>
              <a:pPr algn="l"/>
              <a:t>29</a:t>
            </a:fld>
            <a:endParaRPr lang="en-GB" dirty="0"/>
          </a:p>
        </p:txBody>
      </p:sp>
    </p:spTree>
    <p:extLst>
      <p:ext uri="{BB962C8B-B14F-4D97-AF65-F5344CB8AC3E}">
        <p14:creationId xmlns:p14="http://schemas.microsoft.com/office/powerpoint/2010/main" val="2750334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3</a:t>
            </a:fld>
            <a:endParaRPr lang="en-GB" dirty="0"/>
          </a:p>
        </p:txBody>
      </p:sp>
    </p:spTree>
    <p:extLst>
      <p:ext uri="{BB962C8B-B14F-4D97-AF65-F5344CB8AC3E}">
        <p14:creationId xmlns:p14="http://schemas.microsoft.com/office/powerpoint/2010/main" val="582514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30</a:t>
            </a:fld>
            <a:endParaRPr lang="en-GB" dirty="0"/>
          </a:p>
        </p:txBody>
      </p:sp>
    </p:spTree>
    <p:extLst>
      <p:ext uri="{BB962C8B-B14F-4D97-AF65-F5344CB8AC3E}">
        <p14:creationId xmlns:p14="http://schemas.microsoft.com/office/powerpoint/2010/main" val="20207103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31</a:t>
            </a:fld>
            <a:endParaRPr lang="en-GB" dirty="0"/>
          </a:p>
        </p:txBody>
      </p:sp>
    </p:spTree>
    <p:extLst>
      <p:ext uri="{BB962C8B-B14F-4D97-AF65-F5344CB8AC3E}">
        <p14:creationId xmlns:p14="http://schemas.microsoft.com/office/powerpoint/2010/main" val="9447465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32</a:t>
            </a:fld>
            <a:endParaRPr lang="en-GB" dirty="0"/>
          </a:p>
        </p:txBody>
      </p:sp>
    </p:spTree>
    <p:extLst>
      <p:ext uri="{BB962C8B-B14F-4D97-AF65-F5344CB8AC3E}">
        <p14:creationId xmlns:p14="http://schemas.microsoft.com/office/powerpoint/2010/main" val="4117204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4</a:t>
            </a:fld>
            <a:endParaRPr lang="en-GB" dirty="0"/>
          </a:p>
        </p:txBody>
      </p:sp>
    </p:spTree>
    <p:extLst>
      <p:ext uri="{BB962C8B-B14F-4D97-AF65-F5344CB8AC3E}">
        <p14:creationId xmlns:p14="http://schemas.microsoft.com/office/powerpoint/2010/main" val="524799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5</a:t>
            </a:fld>
            <a:endParaRPr lang="en-GB" dirty="0"/>
          </a:p>
        </p:txBody>
      </p:sp>
    </p:spTree>
    <p:extLst>
      <p:ext uri="{BB962C8B-B14F-4D97-AF65-F5344CB8AC3E}">
        <p14:creationId xmlns:p14="http://schemas.microsoft.com/office/powerpoint/2010/main" val="2219759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C27981-12E6-E341-99D3-6937B67364B5}" type="slidenum">
              <a:rPr lang="en-GB" smtClean="0"/>
              <a:pPr/>
              <a:t>6</a:t>
            </a:fld>
            <a:endParaRPr lang="en-GB" dirty="0"/>
          </a:p>
        </p:txBody>
      </p:sp>
    </p:spTree>
    <p:extLst>
      <p:ext uri="{BB962C8B-B14F-4D97-AF65-F5344CB8AC3E}">
        <p14:creationId xmlns:p14="http://schemas.microsoft.com/office/powerpoint/2010/main" val="599175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gn="l">
              <a:buFont typeface="Arial" panose="020B0604020202020204" pitchFamily="34" charset="0"/>
              <a:buChar char="•"/>
            </a:pPr>
            <a:r>
              <a:rPr lang="en-GB" b="0" i="0" u="none" baseline="0" dirty="0"/>
              <a:t>If needed, print out (or keep on laptop/tablet) so that the schedule is always handy during the workshop</a:t>
            </a:r>
          </a:p>
          <a:p>
            <a:pPr marL="171450" indent="-171450" algn="l">
              <a:buFont typeface="Arial" panose="020B0604020202020204" pitchFamily="34" charset="0"/>
              <a:buChar char="•"/>
            </a:pPr>
            <a:endParaRPr lang="en-GB" dirty="0"/>
          </a:p>
        </p:txBody>
      </p:sp>
      <p:sp>
        <p:nvSpPr>
          <p:cNvPr id="4" name="Foliennummernplatzhalter 3"/>
          <p:cNvSpPr>
            <a:spLocks noGrp="1"/>
          </p:cNvSpPr>
          <p:nvPr>
            <p:ph type="sldNum" sz="quarter" idx="5"/>
          </p:nvPr>
        </p:nvSpPr>
        <p:spPr/>
        <p:txBody>
          <a:bodyPr/>
          <a:lstStyle/>
          <a:p>
            <a:pPr algn="l"/>
            <a:fld id="{49C27981-12E6-E341-99D3-6937B67364B5}" type="slidenum">
              <a:rPr lang="en-GB" smtClean="0"/>
              <a:pPr algn="l"/>
              <a:t>7</a:t>
            </a:fld>
            <a:endParaRPr lang="en-GB" dirty="0"/>
          </a:p>
        </p:txBody>
      </p:sp>
    </p:spTree>
    <p:extLst>
      <p:ext uri="{BB962C8B-B14F-4D97-AF65-F5344CB8AC3E}">
        <p14:creationId xmlns:p14="http://schemas.microsoft.com/office/powerpoint/2010/main" val="2750653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gn="l">
              <a:buFont typeface="Arial" panose="020B0604020202020204" pitchFamily="34" charset="0"/>
              <a:buChar char="•"/>
            </a:pPr>
            <a:r>
              <a:rPr lang="en-GB" b="0" i="0" u="none" baseline="0" dirty="0"/>
              <a:t>If needed, print out (or keep on laptop/tablet) so that the schedule is always handy during the workshop</a:t>
            </a:r>
          </a:p>
        </p:txBody>
      </p:sp>
      <p:sp>
        <p:nvSpPr>
          <p:cNvPr id="4" name="Foliennummernplatzhalter 3"/>
          <p:cNvSpPr>
            <a:spLocks noGrp="1"/>
          </p:cNvSpPr>
          <p:nvPr>
            <p:ph type="sldNum" sz="quarter" idx="5"/>
          </p:nvPr>
        </p:nvSpPr>
        <p:spPr/>
        <p:txBody>
          <a:bodyPr/>
          <a:lstStyle/>
          <a:p>
            <a:pPr algn="l"/>
            <a:fld id="{49C27981-12E6-E341-99D3-6937B67364B5}" type="slidenum">
              <a:rPr lang="en-GB" smtClean="0"/>
              <a:pPr algn="l"/>
              <a:t>8</a:t>
            </a:fld>
            <a:endParaRPr lang="en-GB" dirty="0"/>
          </a:p>
        </p:txBody>
      </p:sp>
    </p:spTree>
    <p:extLst>
      <p:ext uri="{BB962C8B-B14F-4D97-AF65-F5344CB8AC3E}">
        <p14:creationId xmlns:p14="http://schemas.microsoft.com/office/powerpoint/2010/main" val="2807328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lgn="l"/>
            <a:fld id="{F615DDFD-030C-4D5A-B33E-3A7E7538D2BE}" type="slidenum">
              <a:rPr lang="en-GB" smtClean="0"/>
              <a:pPr algn="l"/>
              <a:t>9</a:t>
            </a:fld>
            <a:endParaRPr lang="en-GB" dirty="0"/>
          </a:p>
        </p:txBody>
      </p:sp>
    </p:spTree>
    <p:extLst>
      <p:ext uri="{BB962C8B-B14F-4D97-AF65-F5344CB8AC3E}">
        <p14:creationId xmlns:p14="http://schemas.microsoft.com/office/powerpoint/2010/main" val="3872714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4F1400-795F-A074-DA62-57F93CA534FC}"/>
              </a:ext>
            </a:extLst>
          </p:cNvPr>
          <p:cNvGraphicFramePr>
            <a:graphicFrameLocks noChangeAspect="1"/>
          </p:cNvGraphicFramePr>
          <p:nvPr userDrawn="1">
            <p:custDataLst>
              <p:tags r:id="rId1"/>
            </p:custDataLst>
            <p:extLst>
              <p:ext uri="{D42A27DB-BD31-4B8C-83A1-F6EECF244321}">
                <p14:modId xmlns:p14="http://schemas.microsoft.com/office/powerpoint/2010/main" val="2101889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F54F1400-795F-A074-DA62-57F93CA534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chemeClr val="accent1"/>
          </a:solidFill>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Bildplatzhalter 8">
            <a:extLst>
              <a:ext uri="{FF2B5EF4-FFF2-40B4-BE49-F238E27FC236}">
                <a16:creationId xmlns:a16="http://schemas.microsoft.com/office/drawing/2014/main" id="{C3C296D1-2CD0-479F-A866-6EC741D2293B}"/>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4" name="Textplatzhalter 3">
            <a:extLst>
              <a:ext uri="{FF2B5EF4-FFF2-40B4-BE49-F238E27FC236}">
                <a16:creationId xmlns:a16="http://schemas.microsoft.com/office/drawing/2014/main" id="{EE41BE31-9613-4103-99FF-7DCFF643B329}"/>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6" name="Textplatzhalter 5">
            <a:extLst>
              <a:ext uri="{FF2B5EF4-FFF2-40B4-BE49-F238E27FC236}">
                <a16:creationId xmlns:a16="http://schemas.microsoft.com/office/drawing/2014/main" id="{EDEB298C-798E-4D73-9DD6-F896C06530C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4293381049"/>
      </p:ext>
    </p:extLst>
  </p:cSld>
  <p:clrMapOvr>
    <a:masterClrMapping/>
  </p:clrMapOvr>
  <p:extLst>
    <p:ext uri="{DCECCB84-F9BA-43D5-87BE-67443E8EF086}">
      <p15:sldGuideLst xmlns:p15="http://schemas.microsoft.com/office/powerpoint/2012/main">
        <p15:guide id="2" pos="3840">
          <p15:clr>
            <a:srgbClr val="FBAE40"/>
          </p15:clr>
        </p15:guide>
        <p15:guide id="3" orient="horz" pos="640">
          <p15:clr>
            <a:srgbClr val="FBAE40"/>
          </p15:clr>
        </p15:guide>
        <p15:guide id="4" orient="horz" pos="3952">
          <p15:clr>
            <a:srgbClr val="FBAE40"/>
          </p15:clr>
        </p15:guide>
        <p15:guide id="5" pos="6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FE4F96-D083-F22D-0FDA-77047DF69419}"/>
              </a:ext>
            </a:extLst>
          </p:cNvPr>
          <p:cNvGraphicFramePr>
            <a:graphicFrameLocks noChangeAspect="1"/>
          </p:cNvGraphicFramePr>
          <p:nvPr userDrawn="1">
            <p:custDataLst>
              <p:tags r:id="rId1"/>
            </p:custDataLst>
            <p:extLst>
              <p:ext uri="{D42A27DB-BD31-4B8C-83A1-F6EECF244321}">
                <p14:modId xmlns:p14="http://schemas.microsoft.com/office/powerpoint/2010/main" val="192495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90FE4F96-D083-F22D-0FDA-77047DF69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755A5E4D-C342-4347-A7CC-F2F13B6A9339}"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1412874"/>
            <a:ext cx="10728000" cy="4860000"/>
          </a:xfrm>
        </p:spPr>
        <p:txBody>
          <a:bodyPr tIns="162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943852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ull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C49A61-509E-32FC-B506-6DE2EAF0DC90}"/>
              </a:ext>
            </a:extLst>
          </p:cNvPr>
          <p:cNvGraphicFramePr>
            <a:graphicFrameLocks noChangeAspect="1"/>
          </p:cNvGraphicFramePr>
          <p:nvPr userDrawn="1">
            <p:custDataLst>
              <p:tags r:id="rId1"/>
            </p:custDataLst>
            <p:extLst>
              <p:ext uri="{D42A27DB-BD31-4B8C-83A1-F6EECF244321}">
                <p14:modId xmlns:p14="http://schemas.microsoft.com/office/powerpoint/2010/main" val="400774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EC49A61-509E-32FC-B506-6DE2EAF0D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7D67BB53-40E8-4607-B2C7-18B991B1219F}"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260350"/>
            <a:ext cx="10728000" cy="6012524"/>
          </a:xfrm>
        </p:spPr>
        <p:txBody>
          <a:bodyPr tIns="21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842048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zwei Spalte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14F9B4A-5E71-2436-C531-60297CE2AF8D}"/>
              </a:ext>
            </a:extLst>
          </p:cNvPr>
          <p:cNvGraphicFramePr>
            <a:graphicFrameLocks noChangeAspect="1"/>
          </p:cNvGraphicFramePr>
          <p:nvPr userDrawn="1">
            <p:custDataLst>
              <p:tags r:id="rId1"/>
            </p:custDataLst>
            <p:extLst>
              <p:ext uri="{D42A27DB-BD31-4B8C-83A1-F6EECF244321}">
                <p14:modId xmlns:p14="http://schemas.microsoft.com/office/powerpoint/2010/main" val="99769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A14F9B4A-5E71-2436-C531-60297CE2A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6204163" y="1412875"/>
            <a:ext cx="5256000" cy="4860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0241344E-4BB9-4298-ABFC-33430F6C76AA}"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040000" cy="4860000"/>
          </a:xfrm>
        </p:spPr>
        <p:txBody>
          <a:bodyPr tIns="162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3996394784"/>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2 Bil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6902D4C-3B7E-C061-F232-B93DFD8CDC0E}"/>
              </a:ext>
            </a:extLst>
          </p:cNvPr>
          <p:cNvGraphicFramePr>
            <a:graphicFrameLocks noChangeAspect="1"/>
          </p:cNvGraphicFramePr>
          <p:nvPr userDrawn="1">
            <p:custDataLst>
              <p:tags r:id="rId1"/>
            </p:custDataLst>
            <p:extLst>
              <p:ext uri="{D42A27DB-BD31-4B8C-83A1-F6EECF244321}">
                <p14:modId xmlns:p14="http://schemas.microsoft.com/office/powerpoint/2010/main" val="39884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16902D4C-3B7E-C061-F232-B93DFD8CDC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5121800"/>
            <a:ext cx="5255999" cy="1152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34662ED4-307F-447B-BEA7-6E43D8C46061}"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256000" cy="3420000"/>
          </a:xfrm>
        </p:spPr>
        <p:txBody>
          <a:bodyPr tIns="90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9" name="Bildplatzhalter 10">
            <a:extLst>
              <a:ext uri="{FF2B5EF4-FFF2-40B4-BE49-F238E27FC236}">
                <a16:creationId xmlns:a16="http://schemas.microsoft.com/office/drawing/2014/main" id="{1AAB6914-2518-430D-BF4C-14EA51B61410}"/>
              </a:ext>
            </a:extLst>
          </p:cNvPr>
          <p:cNvSpPr>
            <a:spLocks noGrp="1"/>
          </p:cNvSpPr>
          <p:nvPr>
            <p:ph type="pic" sz="quarter" idx="14" hasCustomPrompt="1"/>
          </p:nvPr>
        </p:nvSpPr>
        <p:spPr>
          <a:xfrm>
            <a:off x="6204162" y="1412875"/>
            <a:ext cx="5256000" cy="3420000"/>
          </a:xfrm>
        </p:spPr>
        <p:txBody>
          <a:bodyPr tIns="90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2" name="Inhaltsplatzhalter 2">
            <a:extLst>
              <a:ext uri="{FF2B5EF4-FFF2-40B4-BE49-F238E27FC236}">
                <a16:creationId xmlns:a16="http://schemas.microsoft.com/office/drawing/2014/main" id="{5092EEFB-079B-4C38-A665-E52B9837601B}"/>
              </a:ext>
            </a:extLst>
          </p:cNvPr>
          <p:cNvSpPr>
            <a:spLocks noGrp="1"/>
          </p:cNvSpPr>
          <p:nvPr>
            <p:ph idx="15" hasCustomPrompt="1"/>
          </p:nvPr>
        </p:nvSpPr>
        <p:spPr>
          <a:xfrm>
            <a:off x="6204162" y="5121800"/>
            <a:ext cx="5256001" cy="1152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Tree>
    <p:extLst>
      <p:ext uri="{BB962C8B-B14F-4D97-AF65-F5344CB8AC3E}">
        <p14:creationId xmlns:p14="http://schemas.microsoft.com/office/powerpoint/2010/main" val="1085750778"/>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3 Bil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F89BBAB-A540-86A1-8FF5-EDD8BE453BEF}"/>
              </a:ext>
            </a:extLst>
          </p:cNvPr>
          <p:cNvGraphicFramePr>
            <a:graphicFrameLocks noChangeAspect="1"/>
          </p:cNvGraphicFramePr>
          <p:nvPr userDrawn="1">
            <p:custDataLst>
              <p:tags r:id="rId1"/>
            </p:custDataLst>
            <p:extLst>
              <p:ext uri="{D42A27DB-BD31-4B8C-83A1-F6EECF244321}">
                <p14:modId xmlns:p14="http://schemas.microsoft.com/office/powerpoint/2010/main" val="3764437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F89BBAB-A540-86A1-8FF5-EDD8BE453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4166439"/>
            <a:ext cx="10728327" cy="2124401"/>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8096AE2D-B3AE-493C-9A4F-C546F94FDAF6}"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3" name="Bildplatzhalter 10">
            <a:extLst>
              <a:ext uri="{FF2B5EF4-FFF2-40B4-BE49-F238E27FC236}">
                <a16:creationId xmlns:a16="http://schemas.microsoft.com/office/drawing/2014/main" id="{36793346-BF6B-42A8-ADE0-3AA3DC3B239A}"/>
              </a:ext>
            </a:extLst>
          </p:cNvPr>
          <p:cNvSpPr>
            <a:spLocks noGrp="1"/>
          </p:cNvSpPr>
          <p:nvPr>
            <p:ph type="pic" sz="quarter" idx="16" hasCustomPrompt="1"/>
          </p:nvPr>
        </p:nvSpPr>
        <p:spPr>
          <a:xfrm>
            <a:off x="8040162" y="1414800"/>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4" name="Bildplatzhalter 10">
            <a:extLst>
              <a:ext uri="{FF2B5EF4-FFF2-40B4-BE49-F238E27FC236}">
                <a16:creationId xmlns:a16="http://schemas.microsoft.com/office/drawing/2014/main" id="{FE637F68-618E-43EB-B240-4BFA26852FC5}"/>
              </a:ext>
            </a:extLst>
          </p:cNvPr>
          <p:cNvSpPr>
            <a:spLocks noGrp="1"/>
          </p:cNvSpPr>
          <p:nvPr>
            <p:ph type="pic" sz="quarter" idx="17" hasCustomPrompt="1"/>
          </p:nvPr>
        </p:nvSpPr>
        <p:spPr>
          <a:xfrm>
            <a:off x="4385999" y="1414800"/>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252988954"/>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Tabel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3F0FDB3-92ED-A659-5296-69686EC3DDE3}"/>
              </a:ext>
            </a:extLst>
          </p:cNvPr>
          <p:cNvGraphicFramePr>
            <a:graphicFrameLocks noChangeAspect="1"/>
          </p:cNvGraphicFramePr>
          <p:nvPr userDrawn="1">
            <p:custDataLst>
              <p:tags r:id="rId1"/>
            </p:custDataLst>
            <p:extLst>
              <p:ext uri="{D42A27DB-BD31-4B8C-83A1-F6EECF244321}">
                <p14:modId xmlns:p14="http://schemas.microsoft.com/office/powerpoint/2010/main" val="306460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43F0FDB3-92ED-A659-5296-69686EC3D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
          </a:xfrm>
        </p:spPr>
        <p:txBody>
          <a:bodyPr/>
          <a:lstStyle>
            <a:lvl1pPr marL="0" indent="0" rtl="0">
              <a:buNone/>
              <a:defRPr b="1"/>
            </a:lvl1pPr>
            <a:lvl2pPr marL="266700" indent="0">
              <a:buNone/>
              <a:defRPr b="1"/>
            </a:lvl2pPr>
            <a:lvl3pPr marL="538163" indent="0">
              <a:buNone/>
              <a:defRPr b="1"/>
            </a:lvl3pPr>
            <a:lvl4pPr marL="804862" indent="0">
              <a:buNone/>
              <a:defRPr b="1"/>
            </a:lvl4pPr>
            <a:lvl5pPr marL="1076325" indent="0">
              <a:buNone/>
              <a:defRPr b="1"/>
            </a:lvl5pPr>
          </a:lstStyle>
          <a:p>
            <a:pPr lvl="0"/>
            <a:r>
              <a:rPr lang="en-GB" noProof="0" dirty="0" err="1"/>
              <a:t>Mastertext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DFDFDBEB-A532-4B5E-AA50-8F338C9EC9D7}"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9" name="Tabellenplatzhalter 8">
            <a:extLst>
              <a:ext uri="{FF2B5EF4-FFF2-40B4-BE49-F238E27FC236}">
                <a16:creationId xmlns:a16="http://schemas.microsoft.com/office/drawing/2014/main" id="{A1D947E6-CC00-458E-BDE1-B0877E30333C}"/>
              </a:ext>
            </a:extLst>
          </p:cNvPr>
          <p:cNvSpPr>
            <a:spLocks noGrp="1"/>
          </p:cNvSpPr>
          <p:nvPr>
            <p:ph type="tbl" sz="quarter" idx="13" hasCustomPrompt="1"/>
          </p:nvPr>
        </p:nvSpPr>
        <p:spPr>
          <a:xfrm>
            <a:off x="731838" y="2061398"/>
            <a:ext cx="10728325" cy="4212401"/>
          </a:xfrm>
        </p:spPr>
        <p:txBody>
          <a:bodyPr tIns="1260000"/>
          <a:lstStyle>
            <a:lvl1pPr marL="0" indent="0" algn="ctr" rtl="0">
              <a:spcBef>
                <a:spcPts val="0"/>
              </a:spcBef>
              <a:buNone/>
              <a:defRPr sz="1400"/>
            </a:lvl1pPr>
          </a:lstStyle>
          <a:p>
            <a:r>
              <a:rPr lang="en-GB" noProof="0" dirty="0" err="1"/>
              <a:t>Tabelle</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928661315"/>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27B25-39A7-5858-EADB-9AAB59EBF5E8}"/>
              </a:ext>
            </a:extLst>
          </p:cNvPr>
          <p:cNvGraphicFramePr>
            <a:graphicFrameLocks noChangeAspect="1"/>
          </p:cNvGraphicFramePr>
          <p:nvPr userDrawn="1">
            <p:custDataLst>
              <p:tags r:id="rId1"/>
            </p:custDataLst>
            <p:extLst>
              <p:ext uri="{D42A27DB-BD31-4B8C-83A1-F6EECF244321}">
                <p14:modId xmlns:p14="http://schemas.microsoft.com/office/powerpoint/2010/main" val="144039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A9527B25-39A7-5858-EADB-9AAB59EBF5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2">
            <a:extLst>
              <a:ext uri="{FF2B5EF4-FFF2-40B4-BE49-F238E27FC236}">
                <a16:creationId xmlns:a16="http://schemas.microsoft.com/office/drawing/2014/main" id="{394B20FF-3667-40DF-92A1-C6CF3BBCA26D}"/>
              </a:ext>
            </a:extLst>
          </p:cNvPr>
          <p:cNvSpPr>
            <a:spLocks noGrp="1"/>
          </p:cNvSpPr>
          <p:nvPr>
            <p:ph idx="1" hasCustomPrompt="1"/>
          </p:nvPr>
        </p:nvSpPr>
        <p:spPr>
          <a:xfrm>
            <a:off x="731837" y="2135492"/>
            <a:ext cx="10728325" cy="3960000"/>
          </a:xfrm>
        </p:spPr>
        <p:txBody>
          <a:bodyPr/>
          <a:lstStyle>
            <a:lvl1pPr marL="0" indent="0" rtl="0">
              <a:spcBef>
                <a:spcPts val="0"/>
              </a:spcBef>
              <a:buNone/>
              <a:defRPr>
                <a:solidFill>
                  <a:schemeClr val="tx1"/>
                </a:solidFill>
              </a:defRPr>
            </a:lvl1pPr>
            <a:lvl2pPr marL="266700" indent="0">
              <a:buNone/>
              <a:defRPr>
                <a:solidFill>
                  <a:schemeClr val="bg1"/>
                </a:solidFill>
              </a:defRPr>
            </a:lvl2pPr>
            <a:lvl3pPr marL="540000" indent="0">
              <a:buNone/>
              <a:defRPr>
                <a:solidFill>
                  <a:schemeClr val="bg1"/>
                </a:solidFill>
              </a:defRPr>
            </a:lvl3pPr>
            <a:lvl4pPr marL="808537" indent="0">
              <a:buNone/>
              <a:defRPr>
                <a:solidFill>
                  <a:schemeClr val="bg1"/>
                </a:solidFill>
              </a:defRPr>
            </a:lvl4pPr>
            <a:lvl5pPr marL="1080000" indent="0">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21" name="Bildplatzhalter 8">
            <a:extLst>
              <a:ext uri="{FF2B5EF4-FFF2-40B4-BE49-F238E27FC236}">
                <a16:creationId xmlns:a16="http://schemas.microsoft.com/office/drawing/2014/main" id="{794484F1-3B7F-46CE-AD0B-2310A557A990}"/>
              </a:ext>
            </a:extLst>
          </p:cNvPr>
          <p:cNvSpPr>
            <a:spLocks noGrp="1"/>
          </p:cNvSpPr>
          <p:nvPr>
            <p:ph type="pic" sz="quarter" idx="12" hasCustomPrompt="1"/>
          </p:nvPr>
        </p:nvSpPr>
        <p:spPr>
          <a:xfrm>
            <a:off x="10200163" y="6489088"/>
            <a:ext cx="1260000" cy="180000"/>
          </a:xfrm>
        </p:spPr>
        <p:txBody>
          <a:bodyPr/>
          <a:lstStyle>
            <a:lvl1pPr marL="0" indent="0" algn="l" rtl="0">
              <a:buNone/>
              <a:defRPr sz="700">
                <a:solidFill>
                  <a:schemeClr val="tx1"/>
                </a:solidFill>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pic>
        <p:nvPicPr>
          <p:cNvPr id="22" name="Grafik 21">
            <a:extLst>
              <a:ext uri="{FF2B5EF4-FFF2-40B4-BE49-F238E27FC236}">
                <a16:creationId xmlns:a16="http://schemas.microsoft.com/office/drawing/2014/main" id="{F900572E-A73E-42BE-96FA-38ADC4E79FD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Tree>
    <p:extLst>
      <p:ext uri="{BB962C8B-B14F-4D97-AF65-F5344CB8AC3E}">
        <p14:creationId xmlns:p14="http://schemas.microsoft.com/office/powerpoint/2010/main" val="1752670339"/>
      </p:ext>
    </p:extLst>
  </p:cSld>
  <p:clrMapOvr>
    <a:masterClrMapping/>
  </p:clrMapOvr>
  <p:extLst>
    <p:ext uri="{DCECCB84-F9BA-43D5-87BE-67443E8EF086}">
      <p15:sldGuideLst xmlns:p15="http://schemas.microsoft.com/office/powerpoint/2012/main">
        <p15:guide id="1" pos="6698">
          <p15:clr>
            <a:srgbClr val="FBAE40"/>
          </p15:clr>
        </p15:guide>
        <p15:guide id="3" orient="horz" pos="640">
          <p15:clr>
            <a:srgbClr val="FBAE40"/>
          </p15:clr>
        </p15:guide>
        <p15:guide id="4" orient="horz" pos="39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D4132F-BCC7-1A1C-1204-1C854A1D631B}"/>
              </a:ext>
            </a:extLst>
          </p:cNvPr>
          <p:cNvGraphicFramePr>
            <a:graphicFrameLocks noChangeAspect="1"/>
          </p:cNvGraphicFramePr>
          <p:nvPr userDrawn="1">
            <p:custDataLst>
              <p:tags r:id="rId1"/>
            </p:custDataLst>
            <p:extLst>
              <p:ext uri="{D42A27DB-BD31-4B8C-83A1-F6EECF244321}">
                <p14:modId xmlns:p14="http://schemas.microsoft.com/office/powerpoint/2010/main" val="171433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25D4132F-BCC7-1A1C-1204-1C854A1D63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Datumsplatzhalter 2"/>
          <p:cNvSpPr>
            <a:spLocks noGrp="1"/>
          </p:cNvSpPr>
          <p:nvPr>
            <p:ph type="dt" sz="half" idx="10"/>
          </p:nvPr>
        </p:nvSpPr>
        <p:spPr/>
        <p:txBody>
          <a:bodyPr/>
          <a:lstStyle>
            <a:lvl1pPr rtl="0">
              <a:defRPr/>
            </a:lvl1pPr>
          </a:lstStyle>
          <a:p>
            <a:fld id="{DB150A14-18FE-4997-B5F0-9E705048F287}" type="datetime1">
              <a:rPr lang="en-GB" smtClean="0"/>
              <a:pPr/>
              <a:t>29/02/2024</a:t>
            </a:fld>
            <a:endParaRPr lang="en-GB" dirty="0"/>
          </a:p>
        </p:txBody>
      </p:sp>
      <p:sp>
        <p:nvSpPr>
          <p:cNvPr id="4" name="Fußzeilenplatzhalter 3"/>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5" name="Foliennummernplatzhalter 4"/>
          <p:cNvSpPr>
            <a:spLocks noGrp="1"/>
          </p:cNvSpPr>
          <p:nvPr>
            <p:ph type="sldNum" sz="quarter" idx="12"/>
          </p:nvPr>
        </p:nvSpPr>
        <p:spPr/>
        <p:txBody>
          <a:bodyPr/>
          <a:lstStyle>
            <a:lvl1pPr rtl="0">
              <a:defRPr/>
            </a:lvl1pPr>
          </a:lstStyle>
          <a:p>
            <a:fld id="{2D71180F-1139-45C3-90C5-3A85A95B0D4D}" type="slidenum">
              <a:rPr lang="en-GB" smtClean="0"/>
              <a:pPr/>
              <a:t>‹#›</a:t>
            </a:fld>
            <a:endParaRPr lang="en-GB" dirty="0"/>
          </a:p>
        </p:txBody>
      </p:sp>
    </p:spTree>
    <p:extLst>
      <p:ext uri="{BB962C8B-B14F-4D97-AF65-F5344CB8AC3E}">
        <p14:creationId xmlns:p14="http://schemas.microsoft.com/office/powerpoint/2010/main" val="691335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856E5D-F9B6-EF77-BCBB-C20C08EA7F74}"/>
              </a:ext>
            </a:extLst>
          </p:cNvPr>
          <p:cNvGraphicFramePr>
            <a:graphicFrameLocks noChangeAspect="1"/>
          </p:cNvGraphicFramePr>
          <p:nvPr userDrawn="1">
            <p:custDataLst>
              <p:tags r:id="rId1"/>
            </p:custDataLst>
            <p:extLst>
              <p:ext uri="{D42A27DB-BD31-4B8C-83A1-F6EECF244321}">
                <p14:modId xmlns:p14="http://schemas.microsoft.com/office/powerpoint/2010/main" val="420081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C4856E5D-F9B6-EF77-BCBB-C20C08EA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a:xfrm>
            <a:off x="1524000" y="1122363"/>
            <a:ext cx="9144000" cy="2387600"/>
          </a:xfrm>
        </p:spPr>
        <p:txBody>
          <a:bodyPr vert="horz" anchor="b"/>
          <a:lstStyle>
            <a:lvl1pPr algn="ctr" rtl="0">
              <a:defRPr sz="6000"/>
            </a:lvl1p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Untertitel 2"/>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Formatvorlage</a:t>
            </a:r>
            <a:r>
              <a:rPr lang="en-GB" dirty="0"/>
              <a:t> des </a:t>
            </a:r>
            <a:r>
              <a:rPr lang="en-GB" dirty="0" err="1"/>
              <a:t>Untertitelmasters</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4" name="Datumsplatzhalter 3"/>
          <p:cNvSpPr>
            <a:spLocks noGrp="1"/>
          </p:cNvSpPr>
          <p:nvPr>
            <p:ph type="dt" sz="half" idx="10"/>
          </p:nvPr>
        </p:nvSpPr>
        <p:spPr/>
        <p:txBody>
          <a:bodyPr/>
          <a:lstStyle>
            <a:lvl1pPr rtl="0">
              <a:defRPr/>
            </a:lvl1pPr>
          </a:lstStyle>
          <a:p>
            <a:fld id="{0630B8FF-5C10-48B1-8DD6-146A3EEB8BA3}" type="datetime1">
              <a:rPr lang="en-GB" smtClean="0"/>
              <a:pPr/>
              <a:t>29/02/2024</a:t>
            </a:fld>
            <a:endParaRPr lang="en-GB" dirty="0"/>
          </a:p>
        </p:txBody>
      </p:sp>
      <p:sp>
        <p:nvSpPr>
          <p:cNvPr id="5" name="Fußzeilenplatzhalter 4"/>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p:cNvSpPr>
            <a:spLocks noGrp="1"/>
          </p:cNvSpPr>
          <p:nvPr>
            <p:ph type="sldNum" sz="quarter" idx="12"/>
          </p:nvPr>
        </p:nvSpPr>
        <p:spPr/>
        <p:txBody>
          <a:bodyPr/>
          <a:lstStyle>
            <a:lvl1pPr rtl="0">
              <a:defRPr/>
            </a:lvl1pPr>
          </a:lstStyle>
          <a:p>
            <a:fld id="{2D71180F-1139-45C3-90C5-3A85A95B0D4D}" type="slidenum">
              <a:rPr lang="en-GB" smtClean="0"/>
              <a:pPr/>
              <a:t>‹#›</a:t>
            </a:fld>
            <a:endParaRPr lang="en-GB" dirty="0"/>
          </a:p>
        </p:txBody>
      </p:sp>
    </p:spTree>
    <p:extLst>
      <p:ext uri="{BB962C8B-B14F-4D97-AF65-F5344CB8AC3E}">
        <p14:creationId xmlns:p14="http://schemas.microsoft.com/office/powerpoint/2010/main" val="39068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689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BC9D52-5E1A-FE24-5D2D-8CE881468EDF}"/>
              </a:ext>
            </a:extLst>
          </p:cNvPr>
          <p:cNvGraphicFramePr>
            <a:graphicFrameLocks noChangeAspect="1"/>
          </p:cNvGraphicFramePr>
          <p:nvPr userDrawn="1">
            <p:custDataLst>
              <p:tags r:id="rId1"/>
            </p:custDataLst>
            <p:extLst>
              <p:ext uri="{D42A27DB-BD31-4B8C-83A1-F6EECF244321}">
                <p14:modId xmlns:p14="http://schemas.microsoft.com/office/powerpoint/2010/main" val="2472043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9DBC9D52-5E1A-FE24-5D2D-8CE881468E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4">
            <a:extLst>
              <a:ext uri="{FF2B5EF4-FFF2-40B4-BE49-F238E27FC236}">
                <a16:creationId xmlns:a16="http://schemas.microsoft.com/office/drawing/2014/main" id="{8A01615F-450E-43D0-B554-DA3FBD48DF34}"/>
              </a:ext>
            </a:extLst>
          </p:cNvPr>
          <p:cNvSpPr>
            <a:spLocks noGrp="1"/>
          </p:cNvSpPr>
          <p:nvPr>
            <p:ph type="pic" sz="quarter" idx="11" hasCustomPrompt="1"/>
          </p:nvPr>
        </p:nvSpPr>
        <p:spPr>
          <a:xfrm>
            <a:off x="731838" y="1016000"/>
            <a:ext cx="10728325" cy="5256000"/>
          </a:xfrm>
        </p:spPr>
        <p:txBody>
          <a:bodyPr lIns="0" tIns="0" rIns="558000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6504000" y="2957494"/>
            <a:ext cx="5688000" cy="2268000"/>
          </a:xfrm>
          <a:solidFill>
            <a:schemeClr val="accent2"/>
          </a:solidFill>
        </p:spPr>
        <p:txBody>
          <a:bodyPr vert="horz" lIns="324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Textplatzhalter 3">
            <a:extLst>
              <a:ext uri="{FF2B5EF4-FFF2-40B4-BE49-F238E27FC236}">
                <a16:creationId xmlns:a16="http://schemas.microsoft.com/office/drawing/2014/main" id="{003A487C-8977-4264-A8A1-D6C1DB604682}"/>
              </a:ext>
            </a:extLst>
          </p:cNvPr>
          <p:cNvSpPr>
            <a:spLocks noGrp="1"/>
          </p:cNvSpPr>
          <p:nvPr>
            <p:ph type="body" sz="quarter" idx="13" hasCustomPrompt="1"/>
          </p:nvPr>
        </p:nvSpPr>
        <p:spPr>
          <a:xfrm>
            <a:off x="6845210" y="4639666"/>
            <a:ext cx="4320000" cy="46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3" name="Bildplatzhalter 8">
            <a:extLst>
              <a:ext uri="{FF2B5EF4-FFF2-40B4-BE49-F238E27FC236}">
                <a16:creationId xmlns:a16="http://schemas.microsoft.com/office/drawing/2014/main" id="{E91D3734-CD8F-4F94-A813-570EF31C4732}"/>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8" name="Textplatzhalter 5">
            <a:extLst>
              <a:ext uri="{FF2B5EF4-FFF2-40B4-BE49-F238E27FC236}">
                <a16:creationId xmlns:a16="http://schemas.microsoft.com/office/drawing/2014/main" id="{547D2927-4A99-4714-8EBA-F773EAA26308}"/>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10024114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elfolie 0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7E5EDB-4F3E-683F-C9F4-54873E5EF298}"/>
              </a:ext>
            </a:extLst>
          </p:cNvPr>
          <p:cNvGraphicFramePr>
            <a:graphicFrameLocks noChangeAspect="1"/>
          </p:cNvGraphicFramePr>
          <p:nvPr userDrawn="1">
            <p:custDataLst>
              <p:tags r:id="rId1"/>
            </p:custDataLst>
            <p:extLst>
              <p:ext uri="{D42A27DB-BD31-4B8C-83A1-F6EECF244321}">
                <p14:modId xmlns:p14="http://schemas.microsoft.com/office/powerpoint/2010/main" val="2886902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07E5EDB-4F3E-683F-C9F4-54873E5EF2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chemeClr val="accent1"/>
          </a:solidFill>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Bildplatzhalter 8">
            <a:extLst>
              <a:ext uri="{FF2B5EF4-FFF2-40B4-BE49-F238E27FC236}">
                <a16:creationId xmlns:a16="http://schemas.microsoft.com/office/drawing/2014/main" id="{C3C296D1-2CD0-479F-A866-6EC741D2293B}"/>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4" name="Textplatzhalter 3">
            <a:extLst>
              <a:ext uri="{FF2B5EF4-FFF2-40B4-BE49-F238E27FC236}">
                <a16:creationId xmlns:a16="http://schemas.microsoft.com/office/drawing/2014/main" id="{EE41BE31-9613-4103-99FF-7DCFF643B329}"/>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6" name="Textplatzhalter 5">
            <a:extLst>
              <a:ext uri="{FF2B5EF4-FFF2-40B4-BE49-F238E27FC236}">
                <a16:creationId xmlns:a16="http://schemas.microsoft.com/office/drawing/2014/main" id="{EDEB298C-798E-4D73-9DD6-F896C06530C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2582942470"/>
      </p:ext>
    </p:extLst>
  </p:cSld>
  <p:clrMapOvr>
    <a:masterClrMapping/>
  </p:clrMapOvr>
  <p:extLst>
    <p:ext uri="{DCECCB84-F9BA-43D5-87BE-67443E8EF086}">
      <p15:sldGuideLst xmlns:p15="http://schemas.microsoft.com/office/powerpoint/2012/main">
        <p15:guide id="2" pos="3840">
          <p15:clr>
            <a:srgbClr val="FBAE40"/>
          </p15:clr>
        </p15:guide>
        <p15:guide id="3" orient="horz" pos="640">
          <p15:clr>
            <a:srgbClr val="FBAE40"/>
          </p15:clr>
        </p15:guide>
        <p15:guide id="4" orient="horz" pos="3952">
          <p15:clr>
            <a:srgbClr val="FBAE40"/>
          </p15:clr>
        </p15:guide>
        <p15:guide id="5" pos="610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elfoli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D032AB-E3F2-C9C2-3D41-29B4E131A95C}"/>
              </a:ext>
            </a:extLst>
          </p:cNvPr>
          <p:cNvGraphicFramePr>
            <a:graphicFrameLocks noChangeAspect="1"/>
          </p:cNvGraphicFramePr>
          <p:nvPr userDrawn="1">
            <p:custDataLst>
              <p:tags r:id="rId1"/>
            </p:custDataLst>
            <p:extLst>
              <p:ext uri="{D42A27DB-BD31-4B8C-83A1-F6EECF244321}">
                <p14:modId xmlns:p14="http://schemas.microsoft.com/office/powerpoint/2010/main" val="2555022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1D032AB-E3F2-C9C2-3D41-29B4E131A9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4">
            <a:extLst>
              <a:ext uri="{FF2B5EF4-FFF2-40B4-BE49-F238E27FC236}">
                <a16:creationId xmlns:a16="http://schemas.microsoft.com/office/drawing/2014/main" id="{8A01615F-450E-43D0-B554-DA3FBD48DF34}"/>
              </a:ext>
            </a:extLst>
          </p:cNvPr>
          <p:cNvSpPr>
            <a:spLocks noGrp="1"/>
          </p:cNvSpPr>
          <p:nvPr>
            <p:ph type="pic" sz="quarter" idx="11" hasCustomPrompt="1"/>
          </p:nvPr>
        </p:nvSpPr>
        <p:spPr>
          <a:xfrm>
            <a:off x="731838" y="1016000"/>
            <a:ext cx="10728325" cy="5256000"/>
          </a:xfrm>
        </p:spPr>
        <p:txBody>
          <a:bodyPr lIns="0" tIns="0" rIns="558000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6504000" y="2957494"/>
            <a:ext cx="5688000" cy="2268000"/>
          </a:xfrm>
          <a:solidFill>
            <a:schemeClr val="accent2"/>
          </a:solidFill>
        </p:spPr>
        <p:txBody>
          <a:bodyPr vert="horz" lIns="324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Textplatzhalter 3">
            <a:extLst>
              <a:ext uri="{FF2B5EF4-FFF2-40B4-BE49-F238E27FC236}">
                <a16:creationId xmlns:a16="http://schemas.microsoft.com/office/drawing/2014/main" id="{003A487C-8977-4264-A8A1-D6C1DB604682}"/>
              </a:ext>
            </a:extLst>
          </p:cNvPr>
          <p:cNvSpPr>
            <a:spLocks noGrp="1"/>
          </p:cNvSpPr>
          <p:nvPr>
            <p:ph type="body" sz="quarter" idx="13" hasCustomPrompt="1"/>
          </p:nvPr>
        </p:nvSpPr>
        <p:spPr>
          <a:xfrm>
            <a:off x="6845210" y="4639666"/>
            <a:ext cx="4320000" cy="46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3" name="Bildplatzhalter 8">
            <a:extLst>
              <a:ext uri="{FF2B5EF4-FFF2-40B4-BE49-F238E27FC236}">
                <a16:creationId xmlns:a16="http://schemas.microsoft.com/office/drawing/2014/main" id="{E91D3734-CD8F-4F94-A813-570EF31C4732}"/>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8" name="Textplatzhalter 5">
            <a:extLst>
              <a:ext uri="{FF2B5EF4-FFF2-40B4-BE49-F238E27FC236}">
                <a16:creationId xmlns:a16="http://schemas.microsoft.com/office/drawing/2014/main" id="{547D2927-4A99-4714-8EBA-F773EAA26308}"/>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274571256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foli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DA53BB-66D9-7F73-CECF-6387E332825A}"/>
              </a:ext>
            </a:extLst>
          </p:cNvPr>
          <p:cNvGraphicFramePr>
            <a:graphicFrameLocks noChangeAspect="1"/>
          </p:cNvGraphicFramePr>
          <p:nvPr userDrawn="1">
            <p:custDataLst>
              <p:tags r:id="rId1"/>
            </p:custDataLst>
            <p:extLst>
              <p:ext uri="{D42A27DB-BD31-4B8C-83A1-F6EECF244321}">
                <p14:modId xmlns:p14="http://schemas.microsoft.com/office/powerpoint/2010/main" val="382473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0DA53BB-66D9-7F73-CECF-6387E3328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62D94F76-218E-49F2-87F8-05982912ED18}"/>
              </a:ext>
            </a:extLst>
          </p:cNvPr>
          <p:cNvSpPr/>
          <p:nvPr userDrawn="1"/>
        </p:nvSpPr>
        <p:spPr>
          <a:xfrm>
            <a:off x="731838" y="1016000"/>
            <a:ext cx="10728325" cy="525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1" y="1940405"/>
            <a:ext cx="10188000" cy="3420000"/>
          </a:xfrm>
          <a:solidFill>
            <a:srgbClr val="E5F2F5"/>
          </a:solidFill>
          <a:ln>
            <a:noFill/>
          </a:ln>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7" name="Textplatzhalter 3">
            <a:extLst>
              <a:ext uri="{FF2B5EF4-FFF2-40B4-BE49-F238E27FC236}">
                <a16:creationId xmlns:a16="http://schemas.microsoft.com/office/drawing/2014/main" id="{0503E57F-F89F-431B-8D38-7CC97B7C201A}"/>
              </a:ext>
            </a:extLst>
          </p:cNvPr>
          <p:cNvSpPr>
            <a:spLocks noGrp="1"/>
          </p:cNvSpPr>
          <p:nvPr>
            <p:ph type="body" sz="quarter" idx="13" hasCustomPrompt="1"/>
          </p:nvPr>
        </p:nvSpPr>
        <p:spPr>
          <a:xfrm>
            <a:off x="1078516" y="4217884"/>
            <a:ext cx="864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2" name="Bildplatzhalter 8">
            <a:extLst>
              <a:ext uri="{FF2B5EF4-FFF2-40B4-BE49-F238E27FC236}">
                <a16:creationId xmlns:a16="http://schemas.microsoft.com/office/drawing/2014/main" id="{1BEB6197-C509-4752-B57E-CEE955F5D926}"/>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8" name="Textplatzhalter 5">
            <a:extLst>
              <a:ext uri="{FF2B5EF4-FFF2-40B4-BE49-F238E27FC236}">
                <a16:creationId xmlns:a16="http://schemas.microsoft.com/office/drawing/2014/main" id="{4ADF7DEC-21BD-45CA-9E91-B9F58A69F62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1333595292"/>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elfolie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3A83FC-24AD-6BCE-AF56-A1CFBE66824B}"/>
              </a:ext>
            </a:extLst>
          </p:cNvPr>
          <p:cNvGraphicFramePr>
            <a:graphicFrameLocks noChangeAspect="1"/>
          </p:cNvGraphicFramePr>
          <p:nvPr userDrawn="1">
            <p:custDataLst>
              <p:tags r:id="rId1"/>
            </p:custDataLst>
            <p:extLst>
              <p:ext uri="{D42A27DB-BD31-4B8C-83A1-F6EECF244321}">
                <p14:modId xmlns:p14="http://schemas.microsoft.com/office/powerpoint/2010/main" val="205211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6F3A83FC-24AD-6BCE-AF56-A1CFBE668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731837" y="1016000"/>
            <a:ext cx="10728326" cy="5256000"/>
          </a:xfrm>
          <a:solidFill>
            <a:schemeClr val="accent3"/>
          </a:solidFill>
          <a:ln>
            <a:noFill/>
          </a:ln>
        </p:spPr>
        <p:txBody>
          <a:bodyPr vert="horz" lIns="324000" tIns="11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6" name="Textplatzhalter 3">
            <a:extLst>
              <a:ext uri="{FF2B5EF4-FFF2-40B4-BE49-F238E27FC236}">
                <a16:creationId xmlns:a16="http://schemas.microsoft.com/office/drawing/2014/main" id="{5FCAD79B-EF47-46A0-9575-229F3DAA72F5}"/>
              </a:ext>
            </a:extLst>
          </p:cNvPr>
          <p:cNvSpPr>
            <a:spLocks noGrp="1"/>
          </p:cNvSpPr>
          <p:nvPr>
            <p:ph type="body" sz="quarter" idx="13" hasCustomPrompt="1"/>
          </p:nvPr>
        </p:nvSpPr>
        <p:spPr>
          <a:xfrm>
            <a:off x="1078515" y="5122625"/>
            <a:ext cx="10044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8" name="Bildplatzhalter 8">
            <a:extLst>
              <a:ext uri="{FF2B5EF4-FFF2-40B4-BE49-F238E27FC236}">
                <a16:creationId xmlns:a16="http://schemas.microsoft.com/office/drawing/2014/main" id="{72236FC6-C8FF-43C1-86B9-BF112345926F}"/>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7" name="Textplatzhalter 5">
            <a:extLst>
              <a:ext uri="{FF2B5EF4-FFF2-40B4-BE49-F238E27FC236}">
                <a16:creationId xmlns:a16="http://schemas.microsoft.com/office/drawing/2014/main" id="{789A3267-E086-4EC3-A0BB-F8ECD01A5C7E}"/>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3987581940"/>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folie 04 – Uni Zürich">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4602C9-06E1-DF73-1C1F-D43792326339}"/>
              </a:ext>
            </a:extLst>
          </p:cNvPr>
          <p:cNvGraphicFramePr>
            <a:graphicFrameLocks noChangeAspect="1"/>
          </p:cNvGraphicFramePr>
          <p:nvPr userDrawn="1">
            <p:custDataLst>
              <p:tags r:id="rId1"/>
            </p:custDataLst>
            <p:extLst>
              <p:ext uri="{D42A27DB-BD31-4B8C-83A1-F6EECF244321}">
                <p14:modId xmlns:p14="http://schemas.microsoft.com/office/powerpoint/2010/main" val="2476303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04602C9-06E1-DF73-1C1F-D43792326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rgbClr val="007A96"/>
          </a:solidFill>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4" name="Grafik 3">
            <a:extLst>
              <a:ext uri="{FF2B5EF4-FFF2-40B4-BE49-F238E27FC236}">
                <a16:creationId xmlns:a16="http://schemas.microsoft.com/office/drawing/2014/main" id="{793E2EDD-B19F-478D-BB03-AD55EC1E86B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7672" y="228020"/>
            <a:ext cx="3679200" cy="552508"/>
          </a:xfrm>
          <a:prstGeom prst="rect">
            <a:avLst/>
          </a:prstGeom>
        </p:spPr>
      </p:pic>
      <p:sp>
        <p:nvSpPr>
          <p:cNvPr id="7" name="Textplatzhalter 3">
            <a:extLst>
              <a:ext uri="{FF2B5EF4-FFF2-40B4-BE49-F238E27FC236}">
                <a16:creationId xmlns:a16="http://schemas.microsoft.com/office/drawing/2014/main" id="{D364BCB8-820F-4C3A-BA37-7048A4C8D4C3}"/>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1" name="Bildplatzhalter 8">
            <a:extLst>
              <a:ext uri="{FF2B5EF4-FFF2-40B4-BE49-F238E27FC236}">
                <a16:creationId xmlns:a16="http://schemas.microsoft.com/office/drawing/2014/main" id="{A73913C2-8DFE-4F15-B2DB-2A6D5C267009}"/>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9" name="Textplatzhalter 5">
            <a:extLst>
              <a:ext uri="{FF2B5EF4-FFF2-40B4-BE49-F238E27FC236}">
                <a16:creationId xmlns:a16="http://schemas.microsoft.com/office/drawing/2014/main" id="{791A1AD7-DB7D-4C75-BEFB-EB6D34D3B2AB}"/>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3929383066"/>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halt mit Fussn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219EBA-1C80-A0E9-B24B-37885A5A8D20}"/>
              </a:ext>
            </a:extLst>
          </p:cNvPr>
          <p:cNvGraphicFramePr>
            <a:graphicFrameLocks noChangeAspect="1"/>
          </p:cNvGraphicFramePr>
          <p:nvPr userDrawn="1">
            <p:custDataLst>
              <p:tags r:id="rId1"/>
            </p:custDataLst>
            <p:extLst>
              <p:ext uri="{D42A27DB-BD31-4B8C-83A1-F6EECF244321}">
                <p14:modId xmlns:p14="http://schemas.microsoft.com/office/powerpoint/2010/main" val="2845149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00219EBA-1C80-A0E9-B24B-37885A5A8D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4CB5FD6D-E027-4195-A094-FA4EC8A73D1C}"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Textplatzhalter 10">
            <a:extLst>
              <a:ext uri="{FF2B5EF4-FFF2-40B4-BE49-F238E27FC236}">
                <a16:creationId xmlns:a16="http://schemas.microsoft.com/office/drawing/2014/main" id="{2F6D94FA-21C6-4AE0-AA4F-3A077810ED93}"/>
              </a:ext>
            </a:extLst>
          </p:cNvPr>
          <p:cNvSpPr>
            <a:spLocks noGrp="1"/>
          </p:cNvSpPr>
          <p:nvPr>
            <p:ph type="body" sz="quarter" idx="13" hasCustomPrompt="1"/>
          </p:nvPr>
        </p:nvSpPr>
        <p:spPr>
          <a:xfrm>
            <a:off x="731836" y="5570135"/>
            <a:ext cx="5364164" cy="721233"/>
          </a:xfrm>
        </p:spPr>
        <p:txBody>
          <a:bodyPr anchor="b" anchorCtr="0"/>
          <a:lstStyle>
            <a:lvl1pPr marL="179388" indent="-179388" rtl="0">
              <a:spcBef>
                <a:spcPts val="0"/>
              </a:spcBef>
              <a:buFont typeface="+mj-lt"/>
              <a:buAutoNum type="arabicPeriod"/>
              <a:defRPr sz="800"/>
            </a:lvl1pPr>
            <a:lvl2pPr marL="266700" indent="0">
              <a:buNone/>
              <a:defRPr sz="800"/>
            </a:lvl2pPr>
            <a:lvl3pPr marL="538163" indent="0">
              <a:buNone/>
              <a:defRPr sz="800"/>
            </a:lvl3pPr>
            <a:lvl4pPr marL="804862" indent="0">
              <a:buNone/>
              <a:defRPr sz="800"/>
            </a:lvl4pPr>
            <a:lvl5pPr marL="1076325" indent="0">
              <a:buNone/>
              <a:defRPr sz="800"/>
            </a:lvl5pPr>
          </a:lstStyle>
          <a:p>
            <a:pPr lvl="0"/>
            <a:r>
              <a:rPr lang="en-GB" noProof="0" dirty="0" err="1"/>
              <a:t>Mastertextformat</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33257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Zwischen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5C5B71-4EA8-CE98-62D3-A96FDB8A9640}"/>
              </a:ext>
            </a:extLst>
          </p:cNvPr>
          <p:cNvGraphicFramePr>
            <a:graphicFrameLocks noChangeAspect="1"/>
          </p:cNvGraphicFramePr>
          <p:nvPr userDrawn="1">
            <p:custDataLst>
              <p:tags r:id="rId1"/>
            </p:custDataLst>
            <p:extLst>
              <p:ext uri="{D42A27DB-BD31-4B8C-83A1-F6EECF244321}">
                <p14:modId xmlns:p14="http://schemas.microsoft.com/office/powerpoint/2010/main" val="311949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515C5B71-4EA8-CE98-62D3-A96FDB8A96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a:xfrm>
            <a:off x="731837" y="2224781"/>
            <a:ext cx="10728325" cy="1260000"/>
          </a:xfrm>
        </p:spPr>
        <p:txBody>
          <a:bodyPr vert="horz"/>
          <a:lstStyle>
            <a:lvl1pPr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solidFill>
                  <a:schemeClr val="bg1"/>
                </a:solidFill>
              </a:defRPr>
            </a:lvl1pPr>
          </a:lstStyle>
          <a:p>
            <a:fld id="{4FE0FF85-2310-433E-81C3-BEFD12D463CE}"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solidFill>
                  <a:schemeClr val="bg1"/>
                </a:solidFill>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solidFill>
                  <a:schemeClr val="bg1"/>
                </a:solidFill>
              </a:defRPr>
            </a:lvl1pPr>
          </a:lstStyle>
          <a:p>
            <a:fld id="{5ACA52AF-F19D-405C-AD5F-7D94B96A5CC3}" type="slidenum">
              <a:rPr lang="en-GB" smtClean="0"/>
              <a:pPr/>
              <a:t>‹#›</a:t>
            </a:fld>
            <a:endParaRPr lang="en-GB" dirty="0"/>
          </a:p>
        </p:txBody>
      </p:sp>
      <p:grpSp>
        <p:nvGrpSpPr>
          <p:cNvPr id="10" name="Grafik 6">
            <a:extLst>
              <a:ext uri="{FF2B5EF4-FFF2-40B4-BE49-F238E27FC236}">
                <a16:creationId xmlns:a16="http://schemas.microsoft.com/office/drawing/2014/main" id="{7F7C476A-2849-4D68-9FA2-3A5CFC13C833}"/>
              </a:ext>
            </a:extLst>
          </p:cNvPr>
          <p:cNvGrpSpPr/>
          <p:nvPr/>
        </p:nvGrpSpPr>
        <p:grpSpPr>
          <a:xfrm>
            <a:off x="731837" y="6507088"/>
            <a:ext cx="984462" cy="162000"/>
            <a:chOff x="731837" y="6507088"/>
            <a:chExt cx="984462" cy="162000"/>
          </a:xfrm>
          <a:solidFill>
            <a:schemeClr val="bg1"/>
          </a:solidFill>
        </p:grpSpPr>
        <p:grpSp>
          <p:nvGrpSpPr>
            <p:cNvPr id="12" name="Grafik 6">
              <a:extLst>
                <a:ext uri="{FF2B5EF4-FFF2-40B4-BE49-F238E27FC236}">
                  <a16:creationId xmlns:a16="http://schemas.microsoft.com/office/drawing/2014/main" id="{7F7C476A-2849-4D68-9FA2-3A5CFC13C833}"/>
                </a:ext>
              </a:extLst>
            </p:cNvPr>
            <p:cNvGrpSpPr/>
            <p:nvPr/>
          </p:nvGrpSpPr>
          <p:grpSpPr>
            <a:xfrm>
              <a:off x="1266489" y="6555186"/>
              <a:ext cx="197463" cy="110963"/>
              <a:chOff x="1266489" y="6555186"/>
              <a:chExt cx="197463" cy="110963"/>
            </a:xfrm>
            <a:grpFill/>
          </p:grpSpPr>
          <p:sp>
            <p:nvSpPr>
              <p:cNvPr id="13" name="Freihandform: Form 12">
                <a:extLst>
                  <a:ext uri="{FF2B5EF4-FFF2-40B4-BE49-F238E27FC236}">
                    <a16:creationId xmlns:a16="http://schemas.microsoft.com/office/drawing/2014/main" id="{18BB0752-F87C-44D9-A9A5-97AF1DEDA1AE}"/>
                  </a:ext>
                </a:extLst>
              </p:cNvPr>
              <p:cNvSpPr/>
              <p:nvPr/>
            </p:nvSpPr>
            <p:spPr>
              <a:xfrm>
                <a:off x="1266489" y="6556934"/>
                <a:ext cx="95902" cy="109216"/>
              </a:xfrm>
              <a:custGeom>
                <a:avLst/>
                <a:gdLst>
                  <a:gd name="connsiteX0" fmla="*/ 66742 w 95902"/>
                  <a:gd name="connsiteY0" fmla="*/ 65797 h 109216"/>
                  <a:gd name="connsiteX1" fmla="*/ 35339 w 95902"/>
                  <a:gd name="connsiteY1" fmla="*/ 95082 h 109216"/>
                  <a:gd name="connsiteX2" fmla="*/ 15953 w 95902"/>
                  <a:gd name="connsiteY2" fmla="*/ 79537 h 109216"/>
                  <a:gd name="connsiteX3" fmla="*/ 15899 w 95902"/>
                  <a:gd name="connsiteY3" fmla="*/ 76265 h 109216"/>
                  <a:gd name="connsiteX4" fmla="*/ 16896 w 95902"/>
                  <a:gd name="connsiteY4" fmla="*/ 66295 h 109216"/>
                  <a:gd name="connsiteX5" fmla="*/ 30230 w 95902"/>
                  <a:gd name="connsiteY5" fmla="*/ 0 h 109216"/>
                  <a:gd name="connsiteX6" fmla="*/ 30230 w 95902"/>
                  <a:gd name="connsiteY6" fmla="*/ 0 h 109216"/>
                  <a:gd name="connsiteX7" fmla="*/ 14528 w 95902"/>
                  <a:gd name="connsiteY7" fmla="*/ 0 h 109216"/>
                  <a:gd name="connsiteX8" fmla="*/ 1194 w 95902"/>
                  <a:gd name="connsiteY8" fmla="*/ 67791 h 109216"/>
                  <a:gd name="connsiteX9" fmla="*/ 1194 w 95902"/>
                  <a:gd name="connsiteY9" fmla="*/ 68788 h 109216"/>
                  <a:gd name="connsiteX10" fmla="*/ 73 w 95902"/>
                  <a:gd name="connsiteY10" fmla="*/ 78508 h 109216"/>
                  <a:gd name="connsiteX11" fmla="*/ 26638 w 95902"/>
                  <a:gd name="connsiteY11" fmla="*/ 109122 h 109216"/>
                  <a:gd name="connsiteX12" fmla="*/ 29980 w 95902"/>
                  <a:gd name="connsiteY12" fmla="*/ 109163 h 109216"/>
                  <a:gd name="connsiteX13" fmla="*/ 61384 w 95902"/>
                  <a:gd name="connsiteY13" fmla="*/ 96702 h 109216"/>
                  <a:gd name="connsiteX14" fmla="*/ 59265 w 95902"/>
                  <a:gd name="connsiteY14" fmla="*/ 107917 h 109216"/>
                  <a:gd name="connsiteX15" fmla="*/ 59265 w 95902"/>
                  <a:gd name="connsiteY15" fmla="*/ 107917 h 109216"/>
                  <a:gd name="connsiteX16" fmla="*/ 74842 w 95902"/>
                  <a:gd name="connsiteY16" fmla="*/ 107917 h 109216"/>
                  <a:gd name="connsiteX17" fmla="*/ 95902 w 95902"/>
                  <a:gd name="connsiteY17" fmla="*/ 0 h 109216"/>
                  <a:gd name="connsiteX18" fmla="*/ 95902 w 95902"/>
                  <a:gd name="connsiteY18" fmla="*/ 0 h 109216"/>
                  <a:gd name="connsiteX19" fmla="*/ 79951 w 95902"/>
                  <a:gd name="connsiteY19" fmla="*/ 0 h 10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902" h="109216">
                    <a:moveTo>
                      <a:pt x="66742" y="65797"/>
                    </a:moveTo>
                    <a:cubicBezTo>
                      <a:pt x="65228" y="82115"/>
                      <a:pt x="51723" y="94709"/>
                      <a:pt x="35339" y="95082"/>
                    </a:cubicBezTo>
                    <a:cubicBezTo>
                      <a:pt x="25692" y="96142"/>
                      <a:pt x="17013" y="89183"/>
                      <a:pt x="15953" y="79537"/>
                    </a:cubicBezTo>
                    <a:cubicBezTo>
                      <a:pt x="15833" y="78450"/>
                      <a:pt x="15814" y="77355"/>
                      <a:pt x="15899" y="76265"/>
                    </a:cubicBezTo>
                    <a:cubicBezTo>
                      <a:pt x="15976" y="72921"/>
                      <a:pt x="16309" y="69588"/>
                      <a:pt x="16896" y="66295"/>
                    </a:cubicBezTo>
                    <a:lnTo>
                      <a:pt x="30230" y="0"/>
                    </a:lnTo>
                    <a:lnTo>
                      <a:pt x="30230" y="0"/>
                    </a:lnTo>
                    <a:lnTo>
                      <a:pt x="14528" y="0"/>
                    </a:lnTo>
                    <a:lnTo>
                      <a:pt x="1194" y="67791"/>
                    </a:lnTo>
                    <a:lnTo>
                      <a:pt x="1194" y="68788"/>
                    </a:lnTo>
                    <a:cubicBezTo>
                      <a:pt x="472" y="71978"/>
                      <a:pt x="95" y="75237"/>
                      <a:pt x="73" y="78508"/>
                    </a:cubicBezTo>
                    <a:cubicBezTo>
                      <a:pt x="-1045" y="94298"/>
                      <a:pt x="10848" y="108004"/>
                      <a:pt x="26638" y="109122"/>
                    </a:cubicBezTo>
                    <a:cubicBezTo>
                      <a:pt x="27751" y="109200"/>
                      <a:pt x="28866" y="109214"/>
                      <a:pt x="29980" y="109163"/>
                    </a:cubicBezTo>
                    <a:cubicBezTo>
                      <a:pt x="41760" y="109765"/>
                      <a:pt x="53221" y="105218"/>
                      <a:pt x="61384" y="96702"/>
                    </a:cubicBezTo>
                    <a:lnTo>
                      <a:pt x="59265" y="107917"/>
                    </a:lnTo>
                    <a:lnTo>
                      <a:pt x="59265" y="107917"/>
                    </a:lnTo>
                    <a:lnTo>
                      <a:pt x="74842" y="107917"/>
                    </a:lnTo>
                    <a:lnTo>
                      <a:pt x="95902" y="0"/>
                    </a:lnTo>
                    <a:lnTo>
                      <a:pt x="95902" y="0"/>
                    </a:lnTo>
                    <a:lnTo>
                      <a:pt x="79951" y="0"/>
                    </a:lnTo>
                    <a:close/>
                  </a:path>
                </a:pathLst>
              </a:custGeom>
              <a:grpFill/>
              <a:ln w="12419" cap="flat">
                <a:noFill/>
                <a:prstDash val="solid"/>
                <a:miter/>
              </a:ln>
            </p:spPr>
            <p:txBody>
              <a:bodyPr rtlCol="0" anchor="ctr"/>
              <a:lstStyle/>
              <a:p>
                <a:pPr rtl="0"/>
                <a:endParaRPr lang="en-GB" noProof="0" dirty="0"/>
              </a:p>
            </p:txBody>
          </p:sp>
          <p:sp>
            <p:nvSpPr>
              <p:cNvPr id="14" name="Freihandform: Form 13">
                <a:extLst>
                  <a:ext uri="{FF2B5EF4-FFF2-40B4-BE49-F238E27FC236}">
                    <a16:creationId xmlns:a16="http://schemas.microsoft.com/office/drawing/2014/main" id="{ED44DE23-7081-4AC9-BF06-502BEC71C004}"/>
                  </a:ext>
                </a:extLst>
              </p:cNvPr>
              <p:cNvSpPr/>
              <p:nvPr/>
            </p:nvSpPr>
            <p:spPr>
              <a:xfrm>
                <a:off x="1376472" y="6555186"/>
                <a:ext cx="87480" cy="109664"/>
              </a:xfrm>
              <a:custGeom>
                <a:avLst/>
                <a:gdLst>
                  <a:gd name="connsiteX0" fmla="*/ 64302 w 87480"/>
                  <a:gd name="connsiteY0" fmla="*/ 3 h 109664"/>
                  <a:gd name="connsiteX1" fmla="*/ 34518 w 87480"/>
                  <a:gd name="connsiteY1" fmla="*/ 14209 h 109664"/>
                  <a:gd name="connsiteX2" fmla="*/ 36886 w 87480"/>
                  <a:gd name="connsiteY2" fmla="*/ 1747 h 109664"/>
                  <a:gd name="connsiteX3" fmla="*/ 36886 w 87480"/>
                  <a:gd name="connsiteY3" fmla="*/ 1747 h 109664"/>
                  <a:gd name="connsiteX4" fmla="*/ 21434 w 87480"/>
                  <a:gd name="connsiteY4" fmla="*/ 1747 h 109664"/>
                  <a:gd name="connsiteX5" fmla="*/ 0 w 87480"/>
                  <a:gd name="connsiteY5" fmla="*/ 109664 h 109664"/>
                  <a:gd name="connsiteX6" fmla="*/ 0 w 87480"/>
                  <a:gd name="connsiteY6" fmla="*/ 109664 h 109664"/>
                  <a:gd name="connsiteX7" fmla="*/ 15826 w 87480"/>
                  <a:gd name="connsiteY7" fmla="*/ 109664 h 109664"/>
                  <a:gd name="connsiteX8" fmla="*/ 28288 w 87480"/>
                  <a:gd name="connsiteY8" fmla="*/ 43493 h 109664"/>
                  <a:gd name="connsiteX9" fmla="*/ 59940 w 87480"/>
                  <a:gd name="connsiteY9" fmla="*/ 14209 h 109664"/>
                  <a:gd name="connsiteX10" fmla="*/ 75019 w 87480"/>
                  <a:gd name="connsiteY10" fmla="*/ 21810 h 109664"/>
                  <a:gd name="connsiteX11" fmla="*/ 75019 w 87480"/>
                  <a:gd name="connsiteY11" fmla="*/ 21810 h 109664"/>
                  <a:gd name="connsiteX12" fmla="*/ 87480 w 87480"/>
                  <a:gd name="connsiteY12" fmla="*/ 10346 h 109664"/>
                  <a:gd name="connsiteX13" fmla="*/ 87480 w 87480"/>
                  <a:gd name="connsiteY13" fmla="*/ 10346 h 109664"/>
                  <a:gd name="connsiteX14" fmla="*/ 63928 w 87480"/>
                  <a:gd name="connsiteY14" fmla="*/ 252 h 1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480" h="109664">
                    <a:moveTo>
                      <a:pt x="64302" y="3"/>
                    </a:moveTo>
                    <a:cubicBezTo>
                      <a:pt x="52709" y="-136"/>
                      <a:pt x="41706" y="5111"/>
                      <a:pt x="34518" y="14209"/>
                    </a:cubicBezTo>
                    <a:lnTo>
                      <a:pt x="36886" y="1747"/>
                    </a:lnTo>
                    <a:lnTo>
                      <a:pt x="36886" y="1747"/>
                    </a:lnTo>
                    <a:lnTo>
                      <a:pt x="21434" y="1747"/>
                    </a:lnTo>
                    <a:lnTo>
                      <a:pt x="0" y="109664"/>
                    </a:lnTo>
                    <a:lnTo>
                      <a:pt x="0" y="109664"/>
                    </a:lnTo>
                    <a:lnTo>
                      <a:pt x="15826" y="109664"/>
                    </a:lnTo>
                    <a:lnTo>
                      <a:pt x="28288" y="43493"/>
                    </a:lnTo>
                    <a:cubicBezTo>
                      <a:pt x="30515" y="27438"/>
                      <a:pt x="43760" y="15183"/>
                      <a:pt x="59940" y="14209"/>
                    </a:cubicBezTo>
                    <a:cubicBezTo>
                      <a:pt x="65919" y="14072"/>
                      <a:pt x="71573" y="16922"/>
                      <a:pt x="75019" y="21810"/>
                    </a:cubicBezTo>
                    <a:lnTo>
                      <a:pt x="75019" y="21810"/>
                    </a:lnTo>
                    <a:lnTo>
                      <a:pt x="87480" y="10346"/>
                    </a:lnTo>
                    <a:lnTo>
                      <a:pt x="87480" y="10346"/>
                    </a:lnTo>
                    <a:cubicBezTo>
                      <a:pt x="81552" y="3603"/>
                      <a:pt x="72899" y="-105"/>
                      <a:pt x="63928" y="252"/>
                    </a:cubicBezTo>
                  </a:path>
                </a:pathLst>
              </a:custGeom>
              <a:grpFill/>
              <a:ln w="12419" cap="flat">
                <a:noFill/>
                <a:prstDash val="solid"/>
                <a:miter/>
              </a:ln>
            </p:spPr>
            <p:txBody>
              <a:bodyPr rtlCol="0" anchor="ctr"/>
              <a:lstStyle/>
              <a:p>
                <a:pPr rtl="0"/>
                <a:endParaRPr lang="en-GB" noProof="0" dirty="0"/>
              </a:p>
            </p:txBody>
          </p:sp>
        </p:grpSp>
        <p:sp>
          <p:nvSpPr>
            <p:cNvPr id="15" name="Freihandform: Form 14">
              <a:extLst>
                <a:ext uri="{FF2B5EF4-FFF2-40B4-BE49-F238E27FC236}">
                  <a16:creationId xmlns:a16="http://schemas.microsoft.com/office/drawing/2014/main" id="{18C24FD2-AEE2-43CA-8EB3-8E646C2E5E46}"/>
                </a:ext>
              </a:extLst>
            </p:cNvPr>
            <p:cNvSpPr/>
            <p:nvPr/>
          </p:nvSpPr>
          <p:spPr>
            <a:xfrm>
              <a:off x="1159517" y="6556560"/>
              <a:ext cx="96452" cy="108166"/>
            </a:xfrm>
            <a:custGeom>
              <a:avLst/>
              <a:gdLst>
                <a:gd name="connsiteX0" fmla="*/ 23303 w 96452"/>
                <a:gd name="connsiteY0" fmla="*/ 0 h 108166"/>
                <a:gd name="connsiteX1" fmla="*/ 20562 w 96452"/>
                <a:gd name="connsiteY1" fmla="*/ 13708 h 108166"/>
                <a:gd name="connsiteX2" fmla="*/ 20562 w 96452"/>
                <a:gd name="connsiteY2" fmla="*/ 13957 h 108166"/>
                <a:gd name="connsiteX3" fmla="*/ 74271 w 96452"/>
                <a:gd name="connsiteY3" fmla="*/ 13957 h 108166"/>
                <a:gd name="connsiteX4" fmla="*/ 2742 w 96452"/>
                <a:gd name="connsiteY4" fmla="*/ 94957 h 108166"/>
                <a:gd name="connsiteX5" fmla="*/ 2617 w 96452"/>
                <a:gd name="connsiteY5" fmla="*/ 94957 h 108166"/>
                <a:gd name="connsiteX6" fmla="*/ 0 w 96452"/>
                <a:gd name="connsiteY6" fmla="*/ 108166 h 108166"/>
                <a:gd name="connsiteX7" fmla="*/ 76265 w 96452"/>
                <a:gd name="connsiteY7" fmla="*/ 108166 h 108166"/>
                <a:gd name="connsiteX8" fmla="*/ 79006 w 96452"/>
                <a:gd name="connsiteY8" fmla="*/ 94209 h 108166"/>
                <a:gd name="connsiteX9" fmla="*/ 21932 w 96452"/>
                <a:gd name="connsiteY9" fmla="*/ 94209 h 108166"/>
                <a:gd name="connsiteX10" fmla="*/ 93835 w 96452"/>
                <a:gd name="connsiteY10" fmla="*/ 13209 h 108166"/>
                <a:gd name="connsiteX11" fmla="*/ 93835 w 96452"/>
                <a:gd name="connsiteY11" fmla="*/ 13209 h 108166"/>
                <a:gd name="connsiteX12" fmla="*/ 96452 w 96452"/>
                <a:gd name="connsiteY12" fmla="*/ 0 h 108166"/>
                <a:gd name="connsiteX13" fmla="*/ 23303 w 96452"/>
                <a:gd name="connsiteY13"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52" h="108166">
                  <a:moveTo>
                    <a:pt x="23303" y="0"/>
                  </a:moveTo>
                  <a:lnTo>
                    <a:pt x="20562" y="13708"/>
                  </a:lnTo>
                  <a:lnTo>
                    <a:pt x="20562" y="13957"/>
                  </a:lnTo>
                  <a:lnTo>
                    <a:pt x="74271" y="13957"/>
                  </a:lnTo>
                  <a:lnTo>
                    <a:pt x="2742" y="94957"/>
                  </a:lnTo>
                  <a:lnTo>
                    <a:pt x="2617" y="94957"/>
                  </a:lnTo>
                  <a:lnTo>
                    <a:pt x="0" y="108166"/>
                  </a:lnTo>
                  <a:lnTo>
                    <a:pt x="76265" y="108166"/>
                  </a:lnTo>
                  <a:lnTo>
                    <a:pt x="79006" y="94209"/>
                  </a:lnTo>
                  <a:lnTo>
                    <a:pt x="21932" y="94209"/>
                  </a:lnTo>
                  <a:lnTo>
                    <a:pt x="93835" y="13209"/>
                  </a:lnTo>
                  <a:lnTo>
                    <a:pt x="93835" y="13209"/>
                  </a:lnTo>
                  <a:lnTo>
                    <a:pt x="96452" y="0"/>
                  </a:lnTo>
                  <a:lnTo>
                    <a:pt x="23303" y="0"/>
                  </a:lnTo>
                  <a:close/>
                </a:path>
              </a:pathLst>
            </a:custGeom>
            <a:grpFill/>
            <a:ln w="12419" cap="flat">
              <a:noFill/>
              <a:prstDash val="solid"/>
              <a:miter/>
            </a:ln>
          </p:spPr>
          <p:txBody>
            <a:bodyPr rtlCol="0" anchor="ctr"/>
            <a:lstStyle/>
            <a:p>
              <a:pPr rtl="0"/>
              <a:endParaRPr lang="en-GB" noProof="0" dirty="0"/>
            </a:p>
          </p:txBody>
        </p:sp>
        <p:sp>
          <p:nvSpPr>
            <p:cNvPr id="16" name="Freihandform: Form 15">
              <a:extLst>
                <a:ext uri="{FF2B5EF4-FFF2-40B4-BE49-F238E27FC236}">
                  <a16:creationId xmlns:a16="http://schemas.microsoft.com/office/drawing/2014/main" id="{AEE7F6F4-4D2C-45B3-A061-9606B2BD36A7}"/>
                </a:ext>
              </a:extLst>
            </p:cNvPr>
            <p:cNvSpPr/>
            <p:nvPr/>
          </p:nvSpPr>
          <p:spPr>
            <a:xfrm>
              <a:off x="1466445" y="6556560"/>
              <a:ext cx="37259" cy="108166"/>
            </a:xfrm>
            <a:custGeom>
              <a:avLst/>
              <a:gdLst>
                <a:gd name="connsiteX0" fmla="*/ 21683 w 37259"/>
                <a:gd name="connsiteY0" fmla="*/ 0 h 108166"/>
                <a:gd name="connsiteX1" fmla="*/ 0 w 37259"/>
                <a:gd name="connsiteY1" fmla="*/ 107917 h 108166"/>
                <a:gd name="connsiteX2" fmla="*/ 0 w 37259"/>
                <a:gd name="connsiteY2" fmla="*/ 108166 h 108166"/>
                <a:gd name="connsiteX3" fmla="*/ 15702 w 37259"/>
                <a:gd name="connsiteY3" fmla="*/ 108166 h 108166"/>
                <a:gd name="connsiteX4" fmla="*/ 37260 w 37259"/>
                <a:gd name="connsiteY4" fmla="*/ 0 h 108166"/>
                <a:gd name="connsiteX5" fmla="*/ 21683 w 37259"/>
                <a:gd name="connsiteY5"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59" h="108166">
                  <a:moveTo>
                    <a:pt x="21683" y="0"/>
                  </a:moveTo>
                  <a:lnTo>
                    <a:pt x="0" y="107917"/>
                  </a:lnTo>
                  <a:lnTo>
                    <a:pt x="0" y="108166"/>
                  </a:lnTo>
                  <a:lnTo>
                    <a:pt x="15702" y="108166"/>
                  </a:lnTo>
                  <a:lnTo>
                    <a:pt x="37260" y="0"/>
                  </a:lnTo>
                  <a:lnTo>
                    <a:pt x="21683" y="0"/>
                  </a:lnTo>
                  <a:close/>
                </a:path>
              </a:pathLst>
            </a:custGeom>
            <a:grpFill/>
            <a:ln w="12419" cap="flat">
              <a:noFill/>
              <a:prstDash val="solid"/>
              <a:miter/>
            </a:ln>
          </p:spPr>
          <p:txBody>
            <a:bodyPr rtlCol="0" anchor="ctr"/>
            <a:lstStyle/>
            <a:p>
              <a:pPr rtl="0"/>
              <a:endParaRPr lang="en-GB" noProof="0" dirty="0"/>
            </a:p>
          </p:txBody>
        </p:sp>
        <p:grpSp>
          <p:nvGrpSpPr>
            <p:cNvPr id="17" name="Grafik 6">
              <a:extLst>
                <a:ext uri="{FF2B5EF4-FFF2-40B4-BE49-F238E27FC236}">
                  <a16:creationId xmlns:a16="http://schemas.microsoft.com/office/drawing/2014/main" id="{7F7C476A-2849-4D68-9FA2-3A5CFC13C833}"/>
                </a:ext>
              </a:extLst>
            </p:cNvPr>
            <p:cNvGrpSpPr/>
            <p:nvPr/>
          </p:nvGrpSpPr>
          <p:grpSpPr>
            <a:xfrm>
              <a:off x="1518879" y="6507337"/>
              <a:ext cx="191395" cy="158803"/>
              <a:chOff x="1518879" y="6507337"/>
              <a:chExt cx="191395" cy="158803"/>
            </a:xfrm>
            <a:grpFill/>
          </p:grpSpPr>
          <p:sp>
            <p:nvSpPr>
              <p:cNvPr id="18" name="Freihandform: Form 17">
                <a:extLst>
                  <a:ext uri="{FF2B5EF4-FFF2-40B4-BE49-F238E27FC236}">
                    <a16:creationId xmlns:a16="http://schemas.microsoft.com/office/drawing/2014/main" id="{B2186F78-5D28-4695-8B1C-5A3F1A53AAB3}"/>
                  </a:ext>
                </a:extLst>
              </p:cNvPr>
              <p:cNvSpPr/>
              <p:nvPr/>
            </p:nvSpPr>
            <p:spPr>
              <a:xfrm>
                <a:off x="1614114" y="6507337"/>
                <a:ext cx="96160" cy="157638"/>
              </a:xfrm>
              <a:custGeom>
                <a:avLst/>
                <a:gdLst>
                  <a:gd name="connsiteX0" fmla="*/ 66046 w 96160"/>
                  <a:gd name="connsiteY0" fmla="*/ 47852 h 157638"/>
                  <a:gd name="connsiteX1" fmla="*/ 35142 w 96160"/>
                  <a:gd name="connsiteY1" fmla="*/ 60314 h 157638"/>
                  <a:gd name="connsiteX2" fmla="*/ 47603 w 96160"/>
                  <a:gd name="connsiteY2" fmla="*/ 0 h 157638"/>
                  <a:gd name="connsiteX3" fmla="*/ 31652 w 96160"/>
                  <a:gd name="connsiteY3" fmla="*/ 0 h 157638"/>
                  <a:gd name="connsiteX4" fmla="*/ 0 w 96160"/>
                  <a:gd name="connsiteY4" fmla="*/ 157389 h 157638"/>
                  <a:gd name="connsiteX5" fmla="*/ 15701 w 96160"/>
                  <a:gd name="connsiteY5" fmla="*/ 157389 h 157638"/>
                  <a:gd name="connsiteX6" fmla="*/ 28911 w 96160"/>
                  <a:gd name="connsiteY6" fmla="*/ 91218 h 157638"/>
                  <a:gd name="connsiteX7" fmla="*/ 60563 w 96160"/>
                  <a:gd name="connsiteY7" fmla="*/ 62058 h 157638"/>
                  <a:gd name="connsiteX8" fmla="*/ 79837 w 96160"/>
                  <a:gd name="connsiteY8" fmla="*/ 77742 h 157638"/>
                  <a:gd name="connsiteX9" fmla="*/ 79878 w 96160"/>
                  <a:gd name="connsiteY9" fmla="*/ 80875 h 157638"/>
                  <a:gd name="connsiteX10" fmla="*/ 78757 w 96160"/>
                  <a:gd name="connsiteY10" fmla="*/ 90969 h 157638"/>
                  <a:gd name="connsiteX11" fmla="*/ 65423 w 96160"/>
                  <a:gd name="connsiteY11" fmla="*/ 157638 h 157638"/>
                  <a:gd name="connsiteX12" fmla="*/ 81125 w 96160"/>
                  <a:gd name="connsiteY12" fmla="*/ 157638 h 157638"/>
                  <a:gd name="connsiteX13" fmla="*/ 94957 w 96160"/>
                  <a:gd name="connsiteY13" fmla="*/ 89474 h 157638"/>
                  <a:gd name="connsiteX14" fmla="*/ 96078 w 96160"/>
                  <a:gd name="connsiteY14" fmla="*/ 78757 h 157638"/>
                  <a:gd name="connsiteX15" fmla="*/ 69522 w 96160"/>
                  <a:gd name="connsiteY15" fmla="*/ 47902 h 157638"/>
                  <a:gd name="connsiteX16" fmla="*/ 66046 w 96160"/>
                  <a:gd name="connsiteY16" fmla="*/ 47852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160" h="157638">
                    <a:moveTo>
                      <a:pt x="66046" y="47852"/>
                    </a:moveTo>
                    <a:cubicBezTo>
                      <a:pt x="54431" y="47363"/>
                      <a:pt x="43168" y="51904"/>
                      <a:pt x="35142" y="60314"/>
                    </a:cubicBezTo>
                    <a:lnTo>
                      <a:pt x="47603" y="0"/>
                    </a:lnTo>
                    <a:lnTo>
                      <a:pt x="31652" y="0"/>
                    </a:lnTo>
                    <a:lnTo>
                      <a:pt x="0" y="157389"/>
                    </a:lnTo>
                    <a:lnTo>
                      <a:pt x="15701" y="157389"/>
                    </a:lnTo>
                    <a:lnTo>
                      <a:pt x="28911" y="91218"/>
                    </a:lnTo>
                    <a:cubicBezTo>
                      <a:pt x="30603" y="74910"/>
                      <a:pt x="44170" y="62411"/>
                      <a:pt x="60563" y="62058"/>
                    </a:cubicBezTo>
                    <a:cubicBezTo>
                      <a:pt x="70216" y="61067"/>
                      <a:pt x="78845" y="68088"/>
                      <a:pt x="79837" y="77742"/>
                    </a:cubicBezTo>
                    <a:cubicBezTo>
                      <a:pt x="79945" y="78783"/>
                      <a:pt x="79958" y="79832"/>
                      <a:pt x="79878" y="80875"/>
                    </a:cubicBezTo>
                    <a:cubicBezTo>
                      <a:pt x="79822" y="84268"/>
                      <a:pt x="79446" y="87647"/>
                      <a:pt x="78757" y="90969"/>
                    </a:cubicBezTo>
                    <a:lnTo>
                      <a:pt x="65423" y="157638"/>
                    </a:lnTo>
                    <a:lnTo>
                      <a:pt x="81125" y="157638"/>
                    </a:lnTo>
                    <a:lnTo>
                      <a:pt x="94957" y="89474"/>
                    </a:lnTo>
                    <a:cubicBezTo>
                      <a:pt x="95657" y="85943"/>
                      <a:pt x="96034" y="82356"/>
                      <a:pt x="96078" y="78757"/>
                    </a:cubicBezTo>
                    <a:cubicBezTo>
                      <a:pt x="97265" y="62903"/>
                      <a:pt x="85375" y="49089"/>
                      <a:pt x="69522" y="47902"/>
                    </a:cubicBezTo>
                    <a:cubicBezTo>
                      <a:pt x="68365" y="47815"/>
                      <a:pt x="67205" y="47799"/>
                      <a:pt x="66046" y="47852"/>
                    </a:cubicBezTo>
                  </a:path>
                </a:pathLst>
              </a:custGeom>
              <a:grpFill/>
              <a:ln w="12419" cap="flat">
                <a:noFill/>
                <a:prstDash val="solid"/>
                <a:miter/>
              </a:ln>
            </p:spPr>
            <p:txBody>
              <a:bodyPr rtlCol="0" anchor="ctr"/>
              <a:lstStyle/>
              <a:p>
                <a:pPr rtl="0"/>
                <a:endParaRPr lang="en-GB" noProof="0" dirty="0"/>
              </a:p>
            </p:txBody>
          </p:sp>
          <p:sp>
            <p:nvSpPr>
              <p:cNvPr id="19" name="Freihandform: Form 18">
                <a:extLst>
                  <a:ext uri="{FF2B5EF4-FFF2-40B4-BE49-F238E27FC236}">
                    <a16:creationId xmlns:a16="http://schemas.microsoft.com/office/drawing/2014/main" id="{1FE5475E-83C3-4BE3-BBF1-FAE9A6986B3F}"/>
                  </a:ext>
                </a:extLst>
              </p:cNvPr>
              <p:cNvSpPr/>
              <p:nvPr/>
            </p:nvSpPr>
            <p:spPr>
              <a:xfrm>
                <a:off x="1518879" y="6555189"/>
                <a:ext cx="87882" cy="110951"/>
              </a:xfrm>
              <a:custGeom>
                <a:avLst/>
                <a:gdLst>
                  <a:gd name="connsiteX0" fmla="*/ 56853 w 87882"/>
                  <a:gd name="connsiteY0" fmla="*/ 0 h 110951"/>
                  <a:gd name="connsiteX1" fmla="*/ 1649 w 87882"/>
                  <a:gd name="connsiteY1" fmla="*/ 55329 h 110951"/>
                  <a:gd name="connsiteX2" fmla="*/ 153 w 87882"/>
                  <a:gd name="connsiteY2" fmla="*/ 71903 h 110951"/>
                  <a:gd name="connsiteX3" fmla="*/ 32484 w 87882"/>
                  <a:gd name="connsiteY3" fmla="*/ 110801 h 110951"/>
                  <a:gd name="connsiteX4" fmla="*/ 37538 w 87882"/>
                  <a:gd name="connsiteY4" fmla="*/ 110908 h 110951"/>
                  <a:gd name="connsiteX5" fmla="*/ 73552 w 87882"/>
                  <a:gd name="connsiteY5" fmla="*/ 95705 h 110951"/>
                  <a:gd name="connsiteX6" fmla="*/ 73552 w 87882"/>
                  <a:gd name="connsiteY6" fmla="*/ 95705 h 110951"/>
                  <a:gd name="connsiteX7" fmla="*/ 64455 w 87882"/>
                  <a:gd name="connsiteY7" fmla="*/ 84614 h 110951"/>
                  <a:gd name="connsiteX8" fmla="*/ 64455 w 87882"/>
                  <a:gd name="connsiteY8" fmla="*/ 84614 h 110951"/>
                  <a:gd name="connsiteX9" fmla="*/ 64455 w 87882"/>
                  <a:gd name="connsiteY9" fmla="*/ 84614 h 110951"/>
                  <a:gd name="connsiteX10" fmla="*/ 38535 w 87882"/>
                  <a:gd name="connsiteY10" fmla="*/ 97075 h 110951"/>
                  <a:gd name="connsiteX11" fmla="*/ 15233 w 87882"/>
                  <a:gd name="connsiteY11" fmla="*/ 75551 h 110951"/>
                  <a:gd name="connsiteX12" fmla="*/ 15356 w 87882"/>
                  <a:gd name="connsiteY12" fmla="*/ 72152 h 110951"/>
                  <a:gd name="connsiteX13" fmla="*/ 17101 w 87882"/>
                  <a:gd name="connsiteY13" fmla="*/ 55952 h 110951"/>
                  <a:gd name="connsiteX14" fmla="*/ 31058 w 87882"/>
                  <a:gd name="connsiteY14" fmla="*/ 25048 h 110951"/>
                  <a:gd name="connsiteX15" fmla="*/ 55233 w 87882"/>
                  <a:gd name="connsiteY15" fmla="*/ 14206 h 110951"/>
                  <a:gd name="connsiteX16" fmla="*/ 76293 w 87882"/>
                  <a:gd name="connsiteY16" fmla="*/ 26668 h 110951"/>
                  <a:gd name="connsiteX17" fmla="*/ 76293 w 87882"/>
                  <a:gd name="connsiteY17" fmla="*/ 26668 h 110951"/>
                  <a:gd name="connsiteX18" fmla="*/ 87883 w 87882"/>
                  <a:gd name="connsiteY18" fmla="*/ 16823 h 110951"/>
                  <a:gd name="connsiteX19" fmla="*/ 87883 w 87882"/>
                  <a:gd name="connsiteY19" fmla="*/ 16823 h 110951"/>
                  <a:gd name="connsiteX20" fmla="*/ 56729 w 87882"/>
                  <a:gd name="connsiteY20" fmla="*/ 748 h 1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7882" h="110951">
                    <a:moveTo>
                      <a:pt x="56853" y="0"/>
                    </a:moveTo>
                    <a:cubicBezTo>
                      <a:pt x="28192" y="0"/>
                      <a:pt x="8129" y="20188"/>
                      <a:pt x="1649" y="55329"/>
                    </a:cubicBezTo>
                    <a:cubicBezTo>
                      <a:pt x="671" y="60800"/>
                      <a:pt x="170" y="66345"/>
                      <a:pt x="153" y="71903"/>
                    </a:cubicBezTo>
                    <a:cubicBezTo>
                      <a:pt x="-1660" y="91572"/>
                      <a:pt x="12814" y="108987"/>
                      <a:pt x="32484" y="110801"/>
                    </a:cubicBezTo>
                    <a:cubicBezTo>
                      <a:pt x="34163" y="110955"/>
                      <a:pt x="35853" y="110991"/>
                      <a:pt x="37538" y="110908"/>
                    </a:cubicBezTo>
                    <a:cubicBezTo>
                      <a:pt x="51112" y="110955"/>
                      <a:pt x="64118" y="105465"/>
                      <a:pt x="73552" y="95705"/>
                    </a:cubicBezTo>
                    <a:lnTo>
                      <a:pt x="73552" y="95705"/>
                    </a:lnTo>
                    <a:lnTo>
                      <a:pt x="64455" y="84614"/>
                    </a:lnTo>
                    <a:lnTo>
                      <a:pt x="64455" y="84614"/>
                    </a:lnTo>
                    <a:lnTo>
                      <a:pt x="64455" y="84614"/>
                    </a:lnTo>
                    <a:cubicBezTo>
                      <a:pt x="58138" y="92466"/>
                      <a:pt x="48613" y="97045"/>
                      <a:pt x="38535" y="97075"/>
                    </a:cubicBezTo>
                    <a:cubicBezTo>
                      <a:pt x="26157" y="97566"/>
                      <a:pt x="15724" y="87929"/>
                      <a:pt x="15233" y="75551"/>
                    </a:cubicBezTo>
                    <a:cubicBezTo>
                      <a:pt x="15188" y="74416"/>
                      <a:pt x="15229" y="73280"/>
                      <a:pt x="15356" y="72152"/>
                    </a:cubicBezTo>
                    <a:cubicBezTo>
                      <a:pt x="15424" y="66709"/>
                      <a:pt x="16008" y="61285"/>
                      <a:pt x="17101" y="55952"/>
                    </a:cubicBezTo>
                    <a:cubicBezTo>
                      <a:pt x="18838" y="44568"/>
                      <a:pt x="23666" y="33878"/>
                      <a:pt x="31058" y="25048"/>
                    </a:cubicBezTo>
                    <a:cubicBezTo>
                      <a:pt x="37213" y="18167"/>
                      <a:pt x="46002" y="14225"/>
                      <a:pt x="55233" y="14206"/>
                    </a:cubicBezTo>
                    <a:cubicBezTo>
                      <a:pt x="64085" y="13892"/>
                      <a:pt x="72308" y="18758"/>
                      <a:pt x="76293" y="26668"/>
                    </a:cubicBezTo>
                    <a:lnTo>
                      <a:pt x="76293" y="26668"/>
                    </a:lnTo>
                    <a:lnTo>
                      <a:pt x="87883" y="16823"/>
                    </a:lnTo>
                    <a:lnTo>
                      <a:pt x="87883" y="16823"/>
                    </a:lnTo>
                    <a:cubicBezTo>
                      <a:pt x="81104" y="6298"/>
                      <a:pt x="69235" y="174"/>
                      <a:pt x="56729" y="748"/>
                    </a:cubicBezTo>
                  </a:path>
                </a:pathLst>
              </a:custGeom>
              <a:grpFill/>
              <a:ln w="12419" cap="flat">
                <a:noFill/>
                <a:prstDash val="solid"/>
                <a:miter/>
              </a:ln>
            </p:spPr>
            <p:txBody>
              <a:bodyPr rtlCol="0" anchor="ctr"/>
              <a:lstStyle/>
              <a:p>
                <a:pPr rtl="0"/>
                <a:endParaRPr lang="en-GB" noProof="0" dirty="0"/>
              </a:p>
            </p:txBody>
          </p:sp>
        </p:grpSp>
        <p:sp>
          <p:nvSpPr>
            <p:cNvPr id="20" name="Freihandform: Form 19">
              <a:extLst>
                <a:ext uri="{FF2B5EF4-FFF2-40B4-BE49-F238E27FC236}">
                  <a16:creationId xmlns:a16="http://schemas.microsoft.com/office/drawing/2014/main" id="{41B77B6E-E7CB-412B-95AC-A9322C6799BB}"/>
                </a:ext>
              </a:extLst>
            </p:cNvPr>
            <p:cNvSpPr/>
            <p:nvPr/>
          </p:nvSpPr>
          <p:spPr>
            <a:xfrm>
              <a:off x="1493985"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1" name="Freihandform: Form 20">
              <a:extLst>
                <a:ext uri="{FF2B5EF4-FFF2-40B4-BE49-F238E27FC236}">
                  <a16:creationId xmlns:a16="http://schemas.microsoft.com/office/drawing/2014/main" id="{832E5C1A-13CE-49A6-B590-B6EAA5F9E1AD}"/>
                </a:ext>
              </a:extLst>
            </p:cNvPr>
            <p:cNvSpPr/>
            <p:nvPr/>
          </p:nvSpPr>
          <p:spPr>
            <a:xfrm>
              <a:off x="1340708"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2" name="Freihandform: Form 21">
              <a:extLst>
                <a:ext uri="{FF2B5EF4-FFF2-40B4-BE49-F238E27FC236}">
                  <a16:creationId xmlns:a16="http://schemas.microsoft.com/office/drawing/2014/main" id="{63AE00B0-780F-4053-8FE9-B7D321217AFF}"/>
                </a:ext>
              </a:extLst>
            </p:cNvPr>
            <p:cNvSpPr/>
            <p:nvPr/>
          </p:nvSpPr>
          <p:spPr>
            <a:xfrm>
              <a:off x="1298712" y="6507088"/>
              <a:ext cx="19689" cy="19689"/>
            </a:xfrm>
            <a:custGeom>
              <a:avLst/>
              <a:gdLst>
                <a:gd name="connsiteX0" fmla="*/ 3988 w 19689"/>
                <a:gd name="connsiteY0" fmla="*/ 0 h 19689"/>
                <a:gd name="connsiteX1" fmla="*/ 0 w 19689"/>
                <a:gd name="connsiteY1" fmla="*/ 19689 h 19689"/>
                <a:gd name="connsiteX2" fmla="*/ 15702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702"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3" name="Freihandform: Form 22">
              <a:extLst>
                <a:ext uri="{FF2B5EF4-FFF2-40B4-BE49-F238E27FC236}">
                  <a16:creationId xmlns:a16="http://schemas.microsoft.com/office/drawing/2014/main" id="{2406CEAF-7399-4CCB-A322-03F0BA2532F5}"/>
                </a:ext>
              </a:extLst>
            </p:cNvPr>
            <p:cNvSpPr/>
            <p:nvPr/>
          </p:nvSpPr>
          <p:spPr>
            <a:xfrm>
              <a:off x="731837" y="6507088"/>
              <a:ext cx="417960" cy="157638"/>
            </a:xfrm>
            <a:custGeom>
              <a:avLst/>
              <a:gdLst>
                <a:gd name="connsiteX0" fmla="*/ 368612 w 417960"/>
                <a:gd name="connsiteY0" fmla="*/ 0 h 157638"/>
                <a:gd name="connsiteX1" fmla="*/ 356151 w 417960"/>
                <a:gd name="connsiteY1" fmla="*/ 61062 h 157638"/>
                <a:gd name="connsiteX2" fmla="*/ 320760 w 417960"/>
                <a:gd name="connsiteY2" fmla="*/ 61062 h 157638"/>
                <a:gd name="connsiteX3" fmla="*/ 333222 w 417960"/>
                <a:gd name="connsiteY3" fmla="*/ 0 h 157638"/>
                <a:gd name="connsiteX4" fmla="*/ 31652 w 417960"/>
                <a:gd name="connsiteY4" fmla="*/ 0 h 157638"/>
                <a:gd name="connsiteX5" fmla="*/ 0 w 417960"/>
                <a:gd name="connsiteY5" fmla="*/ 157638 h 157638"/>
                <a:gd name="connsiteX6" fmla="*/ 120254 w 417960"/>
                <a:gd name="connsiteY6" fmla="*/ 157638 h 157638"/>
                <a:gd name="connsiteX7" fmla="*/ 128105 w 417960"/>
                <a:gd name="connsiteY7" fmla="*/ 118260 h 157638"/>
                <a:gd name="connsiteX8" fmla="*/ 57074 w 417960"/>
                <a:gd name="connsiteY8" fmla="*/ 118260 h 157638"/>
                <a:gd name="connsiteX9" fmla="*/ 61435 w 417960"/>
                <a:gd name="connsiteY9" fmla="*/ 96577 h 157638"/>
                <a:gd name="connsiteX10" fmla="*/ 132342 w 417960"/>
                <a:gd name="connsiteY10" fmla="*/ 96577 h 157638"/>
                <a:gd name="connsiteX11" fmla="*/ 139569 w 417960"/>
                <a:gd name="connsiteY11" fmla="*/ 61062 h 157638"/>
                <a:gd name="connsiteX12" fmla="*/ 68538 w 417960"/>
                <a:gd name="connsiteY12" fmla="*/ 61062 h 157638"/>
                <a:gd name="connsiteX13" fmla="*/ 72900 w 417960"/>
                <a:gd name="connsiteY13" fmla="*/ 39378 h 157638"/>
                <a:gd name="connsiteX14" fmla="*/ 185303 w 417960"/>
                <a:gd name="connsiteY14" fmla="*/ 39378 h 157638"/>
                <a:gd name="connsiteX15" fmla="*/ 161626 w 417960"/>
                <a:gd name="connsiteY15" fmla="*/ 157638 h 157638"/>
                <a:gd name="connsiteX16" fmla="*/ 210849 w 417960"/>
                <a:gd name="connsiteY16" fmla="*/ 157638 h 157638"/>
                <a:gd name="connsiteX17" fmla="*/ 234651 w 417960"/>
                <a:gd name="connsiteY17" fmla="*/ 39378 h 157638"/>
                <a:gd name="connsiteX18" fmla="*/ 276023 w 417960"/>
                <a:gd name="connsiteY18" fmla="*/ 39378 h 157638"/>
                <a:gd name="connsiteX19" fmla="*/ 252222 w 417960"/>
                <a:gd name="connsiteY19" fmla="*/ 157638 h 157638"/>
                <a:gd name="connsiteX20" fmla="*/ 301569 w 417960"/>
                <a:gd name="connsiteY20" fmla="*/ 157638 h 157638"/>
                <a:gd name="connsiteX21" fmla="*/ 313657 w 417960"/>
                <a:gd name="connsiteY21" fmla="*/ 96577 h 157638"/>
                <a:gd name="connsiteX22" fmla="*/ 349172 w 417960"/>
                <a:gd name="connsiteY22" fmla="*/ 96577 h 157638"/>
                <a:gd name="connsiteX23" fmla="*/ 336960 w 417960"/>
                <a:gd name="connsiteY23" fmla="*/ 157638 h 157638"/>
                <a:gd name="connsiteX24" fmla="*/ 386308 w 417960"/>
                <a:gd name="connsiteY24" fmla="*/ 157638 h 157638"/>
                <a:gd name="connsiteX25" fmla="*/ 417960 w 417960"/>
                <a:gd name="connsiteY25" fmla="*/ 0 h 157638"/>
                <a:gd name="connsiteX26" fmla="*/ 368612 w 417960"/>
                <a:gd name="connsiteY26" fmla="*/ 0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7960" h="157638">
                  <a:moveTo>
                    <a:pt x="368612" y="0"/>
                  </a:moveTo>
                  <a:lnTo>
                    <a:pt x="356151" y="61062"/>
                  </a:lnTo>
                  <a:lnTo>
                    <a:pt x="320760" y="61062"/>
                  </a:lnTo>
                  <a:lnTo>
                    <a:pt x="333222" y="0"/>
                  </a:lnTo>
                  <a:lnTo>
                    <a:pt x="31652" y="0"/>
                  </a:lnTo>
                  <a:lnTo>
                    <a:pt x="0" y="157638"/>
                  </a:lnTo>
                  <a:lnTo>
                    <a:pt x="120254" y="157638"/>
                  </a:lnTo>
                  <a:lnTo>
                    <a:pt x="128105" y="118260"/>
                  </a:lnTo>
                  <a:lnTo>
                    <a:pt x="57074" y="118260"/>
                  </a:lnTo>
                  <a:lnTo>
                    <a:pt x="61435" y="96577"/>
                  </a:lnTo>
                  <a:lnTo>
                    <a:pt x="132342" y="96577"/>
                  </a:lnTo>
                  <a:lnTo>
                    <a:pt x="139569" y="61062"/>
                  </a:lnTo>
                  <a:lnTo>
                    <a:pt x="68538" y="61062"/>
                  </a:lnTo>
                  <a:lnTo>
                    <a:pt x="72900" y="39378"/>
                  </a:lnTo>
                  <a:lnTo>
                    <a:pt x="185303" y="39378"/>
                  </a:lnTo>
                  <a:lnTo>
                    <a:pt x="161626" y="157638"/>
                  </a:lnTo>
                  <a:lnTo>
                    <a:pt x="210849" y="157638"/>
                  </a:lnTo>
                  <a:lnTo>
                    <a:pt x="234651" y="39378"/>
                  </a:lnTo>
                  <a:lnTo>
                    <a:pt x="276023" y="39378"/>
                  </a:lnTo>
                  <a:lnTo>
                    <a:pt x="252222" y="157638"/>
                  </a:lnTo>
                  <a:lnTo>
                    <a:pt x="301569" y="157638"/>
                  </a:lnTo>
                  <a:lnTo>
                    <a:pt x="313657" y="96577"/>
                  </a:lnTo>
                  <a:lnTo>
                    <a:pt x="349172" y="96577"/>
                  </a:lnTo>
                  <a:lnTo>
                    <a:pt x="336960" y="157638"/>
                  </a:lnTo>
                  <a:lnTo>
                    <a:pt x="386308" y="157638"/>
                  </a:lnTo>
                  <a:lnTo>
                    <a:pt x="417960" y="0"/>
                  </a:lnTo>
                  <a:lnTo>
                    <a:pt x="368612" y="0"/>
                  </a:lnTo>
                  <a:close/>
                </a:path>
              </a:pathLst>
            </a:custGeom>
            <a:grpFill/>
            <a:ln w="12419" cap="flat">
              <a:noFill/>
              <a:prstDash val="solid"/>
              <a:miter/>
            </a:ln>
          </p:spPr>
          <p:txBody>
            <a:bodyPr rtlCol="0" anchor="ctr"/>
            <a:lstStyle/>
            <a:p>
              <a:pPr rtl="0"/>
              <a:endParaRPr lang="en-GB" noProof="0" dirty="0"/>
            </a:p>
          </p:txBody>
        </p:sp>
      </p:grpSp>
    </p:spTree>
    <p:extLst>
      <p:ext uri="{BB962C8B-B14F-4D97-AF65-F5344CB8AC3E}">
        <p14:creationId xmlns:p14="http://schemas.microsoft.com/office/powerpoint/2010/main" val="251652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halt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C04BC0-B0BC-CB5C-89E8-82CAF84F6354}"/>
              </a:ext>
            </a:extLst>
          </p:cNvPr>
          <p:cNvGraphicFramePr>
            <a:graphicFrameLocks noChangeAspect="1"/>
          </p:cNvGraphicFramePr>
          <p:nvPr userDrawn="1">
            <p:custDataLst>
              <p:tags r:id="rId1"/>
            </p:custDataLst>
            <p:extLst>
              <p:ext uri="{D42A27DB-BD31-4B8C-83A1-F6EECF244321}">
                <p14:modId xmlns:p14="http://schemas.microsoft.com/office/powerpoint/2010/main" val="66194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4DC04BC0-B0BC-CB5C-89E8-82CAF84F6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11C04F11-3A1C-4E21-BE30-D0087654C833}"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1412874"/>
            <a:ext cx="10728000" cy="4860000"/>
          </a:xfrm>
        </p:spPr>
        <p:txBody>
          <a:bodyPr tIns="162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8706311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ild full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53FE21-E72D-06E4-7A05-286D3BCEADDB}"/>
              </a:ext>
            </a:extLst>
          </p:cNvPr>
          <p:cNvGraphicFramePr>
            <a:graphicFrameLocks noChangeAspect="1"/>
          </p:cNvGraphicFramePr>
          <p:nvPr userDrawn="1">
            <p:custDataLst>
              <p:tags r:id="rId1"/>
            </p:custDataLst>
            <p:extLst>
              <p:ext uri="{D42A27DB-BD31-4B8C-83A1-F6EECF244321}">
                <p14:modId xmlns:p14="http://schemas.microsoft.com/office/powerpoint/2010/main" val="275270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A153FE21-E72D-06E4-7A05-286D3BCEA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1DBC3082-9AB8-4C95-A253-AC9D65E9ED54}"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260350"/>
            <a:ext cx="10728000" cy="6012524"/>
          </a:xfrm>
        </p:spPr>
        <p:txBody>
          <a:bodyPr tIns="21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996574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nhalt zwei Spalte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34FDD1A-9E9C-43F8-49EE-611996F4D8DC}"/>
              </a:ext>
            </a:extLst>
          </p:cNvPr>
          <p:cNvGraphicFramePr>
            <a:graphicFrameLocks noChangeAspect="1"/>
          </p:cNvGraphicFramePr>
          <p:nvPr userDrawn="1">
            <p:custDataLst>
              <p:tags r:id="rId1"/>
            </p:custDataLst>
            <p:extLst>
              <p:ext uri="{D42A27DB-BD31-4B8C-83A1-F6EECF244321}">
                <p14:modId xmlns:p14="http://schemas.microsoft.com/office/powerpoint/2010/main" val="39381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34FDD1A-9E9C-43F8-49EE-611996F4D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6204163" y="1412875"/>
            <a:ext cx="5256000" cy="4860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6B83B7E0-2339-490D-845D-2C1526039CB1}"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040000" cy="4860000"/>
          </a:xfrm>
        </p:spPr>
        <p:txBody>
          <a:bodyPr tIns="162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3030196718"/>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ACFB11-02C2-93C8-0231-17EB5B054693}"/>
              </a:ext>
            </a:extLst>
          </p:cNvPr>
          <p:cNvGraphicFramePr>
            <a:graphicFrameLocks noChangeAspect="1"/>
          </p:cNvGraphicFramePr>
          <p:nvPr userDrawn="1">
            <p:custDataLst>
              <p:tags r:id="rId1"/>
            </p:custDataLst>
            <p:extLst>
              <p:ext uri="{D42A27DB-BD31-4B8C-83A1-F6EECF244321}">
                <p14:modId xmlns:p14="http://schemas.microsoft.com/office/powerpoint/2010/main" val="3962192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4ACFB11-02C2-93C8-0231-17EB5B054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62D94F76-218E-49F2-87F8-05982912ED18}"/>
              </a:ext>
            </a:extLst>
          </p:cNvPr>
          <p:cNvSpPr/>
          <p:nvPr userDrawn="1"/>
        </p:nvSpPr>
        <p:spPr>
          <a:xfrm>
            <a:off x="731838" y="1016000"/>
            <a:ext cx="10728325" cy="5257800"/>
          </a:xfrm>
          <a:prstGeom prst="rect">
            <a:avLst/>
          </a:prstGeom>
          <a:solidFill>
            <a:srgbClr val="485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1" y="1940405"/>
            <a:ext cx="10188000" cy="3420000"/>
          </a:xfrm>
          <a:solidFill>
            <a:srgbClr val="72791C"/>
          </a:solidFill>
          <a:ln>
            <a:noFill/>
          </a:ln>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7" name="Textplatzhalter 3">
            <a:extLst>
              <a:ext uri="{FF2B5EF4-FFF2-40B4-BE49-F238E27FC236}">
                <a16:creationId xmlns:a16="http://schemas.microsoft.com/office/drawing/2014/main" id="{0503E57F-F89F-431B-8D38-7CC97B7C201A}"/>
              </a:ext>
            </a:extLst>
          </p:cNvPr>
          <p:cNvSpPr>
            <a:spLocks noGrp="1"/>
          </p:cNvSpPr>
          <p:nvPr>
            <p:ph type="body" sz="quarter" idx="13" hasCustomPrompt="1"/>
          </p:nvPr>
        </p:nvSpPr>
        <p:spPr>
          <a:xfrm>
            <a:off x="1078516" y="4217884"/>
            <a:ext cx="864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2" name="Bildplatzhalter 8">
            <a:extLst>
              <a:ext uri="{FF2B5EF4-FFF2-40B4-BE49-F238E27FC236}">
                <a16:creationId xmlns:a16="http://schemas.microsoft.com/office/drawing/2014/main" id="{1BEB6197-C509-4752-B57E-CEE955F5D926}"/>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8" name="Textplatzhalter 5">
            <a:extLst>
              <a:ext uri="{FF2B5EF4-FFF2-40B4-BE49-F238E27FC236}">
                <a16:creationId xmlns:a16="http://schemas.microsoft.com/office/drawing/2014/main" id="{4ADF7DEC-21BD-45CA-9E91-B9F58A69F62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3924069494"/>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halt 2 Bil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8CE8ED-C5D7-2E67-6534-6EF93D703418}"/>
              </a:ext>
            </a:extLst>
          </p:cNvPr>
          <p:cNvGraphicFramePr>
            <a:graphicFrameLocks noChangeAspect="1"/>
          </p:cNvGraphicFramePr>
          <p:nvPr userDrawn="1">
            <p:custDataLst>
              <p:tags r:id="rId1"/>
            </p:custDataLst>
            <p:extLst>
              <p:ext uri="{D42A27DB-BD31-4B8C-83A1-F6EECF244321}">
                <p14:modId xmlns:p14="http://schemas.microsoft.com/office/powerpoint/2010/main" val="1854063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FD8CE8ED-C5D7-2E67-6534-6EF93D7034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5121800"/>
            <a:ext cx="5255999" cy="1152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FE59423C-2BB3-4E84-92EE-3627D6421326}"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256000" cy="3420000"/>
          </a:xfrm>
        </p:spPr>
        <p:txBody>
          <a:bodyPr tIns="90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9" name="Bildplatzhalter 10">
            <a:extLst>
              <a:ext uri="{FF2B5EF4-FFF2-40B4-BE49-F238E27FC236}">
                <a16:creationId xmlns:a16="http://schemas.microsoft.com/office/drawing/2014/main" id="{1AAB6914-2518-430D-BF4C-14EA51B61410}"/>
              </a:ext>
            </a:extLst>
          </p:cNvPr>
          <p:cNvSpPr>
            <a:spLocks noGrp="1"/>
          </p:cNvSpPr>
          <p:nvPr>
            <p:ph type="pic" sz="quarter" idx="14" hasCustomPrompt="1"/>
          </p:nvPr>
        </p:nvSpPr>
        <p:spPr>
          <a:xfrm>
            <a:off x="6204162" y="1412875"/>
            <a:ext cx="5256000" cy="3420000"/>
          </a:xfrm>
        </p:spPr>
        <p:txBody>
          <a:bodyPr tIns="90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2" name="Inhaltsplatzhalter 2">
            <a:extLst>
              <a:ext uri="{FF2B5EF4-FFF2-40B4-BE49-F238E27FC236}">
                <a16:creationId xmlns:a16="http://schemas.microsoft.com/office/drawing/2014/main" id="{5092EEFB-079B-4C38-A665-E52B9837601B}"/>
              </a:ext>
            </a:extLst>
          </p:cNvPr>
          <p:cNvSpPr>
            <a:spLocks noGrp="1"/>
          </p:cNvSpPr>
          <p:nvPr>
            <p:ph idx="15" hasCustomPrompt="1"/>
          </p:nvPr>
        </p:nvSpPr>
        <p:spPr>
          <a:xfrm>
            <a:off x="6204162" y="5121800"/>
            <a:ext cx="5256001" cy="1152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Tree>
    <p:extLst>
      <p:ext uri="{BB962C8B-B14F-4D97-AF65-F5344CB8AC3E}">
        <p14:creationId xmlns:p14="http://schemas.microsoft.com/office/powerpoint/2010/main" val="3016386643"/>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halt 3 Bil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C215CA-7C36-65CF-4F4F-15FFDD722E3E}"/>
              </a:ext>
            </a:extLst>
          </p:cNvPr>
          <p:cNvGraphicFramePr>
            <a:graphicFrameLocks noChangeAspect="1"/>
          </p:cNvGraphicFramePr>
          <p:nvPr userDrawn="1">
            <p:custDataLst>
              <p:tags r:id="rId1"/>
            </p:custDataLst>
            <p:extLst>
              <p:ext uri="{D42A27DB-BD31-4B8C-83A1-F6EECF244321}">
                <p14:modId xmlns:p14="http://schemas.microsoft.com/office/powerpoint/2010/main" val="3014672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C7C215CA-7C36-65CF-4F4F-15FFDD722E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4166439"/>
            <a:ext cx="10728327" cy="2124401"/>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5A9C71EC-859D-4316-B698-FA4BF15C007C}"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3" name="Bildplatzhalter 10">
            <a:extLst>
              <a:ext uri="{FF2B5EF4-FFF2-40B4-BE49-F238E27FC236}">
                <a16:creationId xmlns:a16="http://schemas.microsoft.com/office/drawing/2014/main" id="{36793346-BF6B-42A8-ADE0-3AA3DC3B239A}"/>
              </a:ext>
            </a:extLst>
          </p:cNvPr>
          <p:cNvSpPr>
            <a:spLocks noGrp="1"/>
          </p:cNvSpPr>
          <p:nvPr>
            <p:ph type="pic" sz="quarter" idx="16" hasCustomPrompt="1"/>
          </p:nvPr>
        </p:nvSpPr>
        <p:spPr>
          <a:xfrm>
            <a:off x="8040162" y="1414800"/>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14" name="Bildplatzhalter 10">
            <a:extLst>
              <a:ext uri="{FF2B5EF4-FFF2-40B4-BE49-F238E27FC236}">
                <a16:creationId xmlns:a16="http://schemas.microsoft.com/office/drawing/2014/main" id="{FE637F68-618E-43EB-B240-4BFA26852FC5}"/>
              </a:ext>
            </a:extLst>
          </p:cNvPr>
          <p:cNvSpPr>
            <a:spLocks noGrp="1"/>
          </p:cNvSpPr>
          <p:nvPr>
            <p:ph type="pic" sz="quarter" idx="17" hasCustomPrompt="1"/>
          </p:nvPr>
        </p:nvSpPr>
        <p:spPr>
          <a:xfrm>
            <a:off x="4385999" y="1414800"/>
            <a:ext cx="3420000" cy="2484000"/>
          </a:xfrm>
        </p:spPr>
        <p:txBody>
          <a:bodyPr tIns="36000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955461353"/>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nhalt Tabel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99DC44F-C574-5B2D-93A0-C3BBD5A7F4C4}"/>
              </a:ext>
            </a:extLst>
          </p:cNvPr>
          <p:cNvGraphicFramePr>
            <a:graphicFrameLocks noChangeAspect="1"/>
          </p:cNvGraphicFramePr>
          <p:nvPr userDrawn="1">
            <p:custDataLst>
              <p:tags r:id="rId1"/>
            </p:custDataLst>
            <p:extLst>
              <p:ext uri="{D42A27DB-BD31-4B8C-83A1-F6EECF244321}">
                <p14:modId xmlns:p14="http://schemas.microsoft.com/office/powerpoint/2010/main" val="37513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899DC44F-C574-5B2D-93A0-C3BBD5A7F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
          </a:xfrm>
        </p:spPr>
        <p:txBody>
          <a:bodyPr/>
          <a:lstStyle>
            <a:lvl1pPr marL="0" indent="0" rtl="0">
              <a:buNone/>
              <a:defRPr b="1"/>
            </a:lvl1pPr>
            <a:lvl2pPr marL="266700" indent="0">
              <a:buNone/>
              <a:defRPr b="1"/>
            </a:lvl2pPr>
            <a:lvl3pPr marL="538163" indent="0">
              <a:buNone/>
              <a:defRPr b="1"/>
            </a:lvl3pPr>
            <a:lvl4pPr marL="804862" indent="0">
              <a:buNone/>
              <a:defRPr b="1"/>
            </a:lvl4pPr>
            <a:lvl5pPr marL="1076325" indent="0">
              <a:buNone/>
              <a:defRPr b="1"/>
            </a:lvl5pPr>
          </a:lstStyle>
          <a:p>
            <a:pPr lvl="0"/>
            <a:r>
              <a:rPr lang="en-GB" noProof="0" dirty="0" err="1"/>
              <a:t>Mastertext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A6BC34B0-E86C-4C72-A951-5FC51E8A4AD4}"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9" name="Tabellenplatzhalter 8">
            <a:extLst>
              <a:ext uri="{FF2B5EF4-FFF2-40B4-BE49-F238E27FC236}">
                <a16:creationId xmlns:a16="http://schemas.microsoft.com/office/drawing/2014/main" id="{A1D947E6-CC00-458E-BDE1-B0877E30333C}"/>
              </a:ext>
            </a:extLst>
          </p:cNvPr>
          <p:cNvSpPr>
            <a:spLocks noGrp="1"/>
          </p:cNvSpPr>
          <p:nvPr>
            <p:ph type="tbl" sz="quarter" idx="13" hasCustomPrompt="1"/>
          </p:nvPr>
        </p:nvSpPr>
        <p:spPr>
          <a:xfrm>
            <a:off x="731838" y="2061398"/>
            <a:ext cx="10728325" cy="4212401"/>
          </a:xfrm>
        </p:spPr>
        <p:txBody>
          <a:bodyPr tIns="1260000"/>
          <a:lstStyle>
            <a:lvl1pPr marL="0" indent="0" algn="ctr" rtl="0">
              <a:spcBef>
                <a:spcPts val="0"/>
              </a:spcBef>
              <a:buNone/>
              <a:defRPr sz="1400"/>
            </a:lvl1pPr>
          </a:lstStyle>
          <a:p>
            <a:r>
              <a:rPr lang="en-GB" noProof="0" dirty="0" err="1"/>
              <a:t>Tabelle</a:t>
            </a:r>
            <a:r>
              <a:rPr lang="en-GB" noProof="0" dirty="0"/>
              <a:t>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Tree>
    <p:extLst>
      <p:ext uri="{BB962C8B-B14F-4D97-AF65-F5344CB8AC3E}">
        <p14:creationId xmlns:p14="http://schemas.microsoft.com/office/powerpoint/2010/main" val="2096750995"/>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chlussfoli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5A84A5-5D39-FE48-9BDA-C1D259F9FD3D}"/>
              </a:ext>
            </a:extLst>
          </p:cNvPr>
          <p:cNvGraphicFramePr>
            <a:graphicFrameLocks noChangeAspect="1"/>
          </p:cNvGraphicFramePr>
          <p:nvPr userDrawn="1">
            <p:custDataLst>
              <p:tags r:id="rId1"/>
            </p:custDataLst>
            <p:extLst>
              <p:ext uri="{D42A27DB-BD31-4B8C-83A1-F6EECF244321}">
                <p14:modId xmlns:p14="http://schemas.microsoft.com/office/powerpoint/2010/main" val="2113745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F5A84A5-5D39-FE48-9BDA-C1D259F9F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2">
            <a:extLst>
              <a:ext uri="{FF2B5EF4-FFF2-40B4-BE49-F238E27FC236}">
                <a16:creationId xmlns:a16="http://schemas.microsoft.com/office/drawing/2014/main" id="{394B20FF-3667-40DF-92A1-C6CF3BBCA26D}"/>
              </a:ext>
            </a:extLst>
          </p:cNvPr>
          <p:cNvSpPr>
            <a:spLocks noGrp="1"/>
          </p:cNvSpPr>
          <p:nvPr>
            <p:ph idx="1" hasCustomPrompt="1"/>
          </p:nvPr>
        </p:nvSpPr>
        <p:spPr>
          <a:xfrm>
            <a:off x="731837" y="2135492"/>
            <a:ext cx="10728325" cy="3960000"/>
          </a:xfrm>
        </p:spPr>
        <p:txBody>
          <a:bodyPr/>
          <a:lstStyle>
            <a:lvl1pPr marL="0" indent="0" rtl="0">
              <a:spcBef>
                <a:spcPts val="0"/>
              </a:spcBef>
              <a:buNone/>
              <a:defRPr>
                <a:solidFill>
                  <a:schemeClr val="tx1"/>
                </a:solidFill>
              </a:defRPr>
            </a:lvl1pPr>
            <a:lvl2pPr marL="266700" indent="0">
              <a:buNone/>
              <a:defRPr>
                <a:solidFill>
                  <a:schemeClr val="bg1"/>
                </a:solidFill>
              </a:defRPr>
            </a:lvl2pPr>
            <a:lvl3pPr marL="540000" indent="0">
              <a:buNone/>
              <a:defRPr>
                <a:solidFill>
                  <a:schemeClr val="bg1"/>
                </a:solidFill>
              </a:defRPr>
            </a:lvl3pPr>
            <a:lvl4pPr marL="808537" indent="0">
              <a:buNone/>
              <a:defRPr>
                <a:solidFill>
                  <a:schemeClr val="bg1"/>
                </a:solidFill>
              </a:defRPr>
            </a:lvl4pPr>
            <a:lvl5pPr marL="1080000" indent="0">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21" name="Bildplatzhalter 8">
            <a:extLst>
              <a:ext uri="{FF2B5EF4-FFF2-40B4-BE49-F238E27FC236}">
                <a16:creationId xmlns:a16="http://schemas.microsoft.com/office/drawing/2014/main" id="{794484F1-3B7F-46CE-AD0B-2310A557A990}"/>
              </a:ext>
            </a:extLst>
          </p:cNvPr>
          <p:cNvSpPr>
            <a:spLocks noGrp="1"/>
          </p:cNvSpPr>
          <p:nvPr>
            <p:ph type="pic" sz="quarter" idx="12" hasCustomPrompt="1"/>
          </p:nvPr>
        </p:nvSpPr>
        <p:spPr>
          <a:xfrm>
            <a:off x="10200163" y="6489088"/>
            <a:ext cx="1260000" cy="180000"/>
          </a:xfrm>
        </p:spPr>
        <p:txBody>
          <a:bodyPr/>
          <a:lstStyle>
            <a:lvl1pPr marL="0" indent="0" algn="l" rtl="0">
              <a:buNone/>
              <a:defRPr sz="700">
                <a:solidFill>
                  <a:schemeClr val="tx1"/>
                </a:solidFill>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pic>
        <p:nvPicPr>
          <p:cNvPr id="22" name="Grafik 21">
            <a:extLst>
              <a:ext uri="{FF2B5EF4-FFF2-40B4-BE49-F238E27FC236}">
                <a16:creationId xmlns:a16="http://schemas.microsoft.com/office/drawing/2014/main" id="{F900572E-A73E-42BE-96FA-38ADC4E79FD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Tree>
    <p:extLst>
      <p:ext uri="{BB962C8B-B14F-4D97-AF65-F5344CB8AC3E}">
        <p14:creationId xmlns:p14="http://schemas.microsoft.com/office/powerpoint/2010/main" val="3039831707"/>
      </p:ext>
    </p:extLst>
  </p:cSld>
  <p:clrMapOvr>
    <a:masterClrMapping/>
  </p:clrMapOvr>
  <p:extLst>
    <p:ext uri="{DCECCB84-F9BA-43D5-87BE-67443E8EF086}">
      <p15:sldGuideLst xmlns:p15="http://schemas.microsoft.com/office/powerpoint/2012/main">
        <p15:guide id="1" pos="6698">
          <p15:clr>
            <a:srgbClr val="FBAE40"/>
          </p15:clr>
        </p15:guide>
        <p15:guide id="3" orient="horz" pos="640">
          <p15:clr>
            <a:srgbClr val="FBAE40"/>
          </p15:clr>
        </p15:guide>
        <p15:guide id="4" orient="horz" pos="39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664350-A5E5-3088-B899-6D2BE8FC1A6D}"/>
              </a:ext>
            </a:extLst>
          </p:cNvPr>
          <p:cNvGraphicFramePr>
            <a:graphicFrameLocks noChangeAspect="1"/>
          </p:cNvGraphicFramePr>
          <p:nvPr userDrawn="1">
            <p:custDataLst>
              <p:tags r:id="rId1"/>
            </p:custDataLst>
            <p:extLst>
              <p:ext uri="{D42A27DB-BD31-4B8C-83A1-F6EECF244321}">
                <p14:modId xmlns:p14="http://schemas.microsoft.com/office/powerpoint/2010/main" val="148090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DA664350-A5E5-3088-B899-6D2BE8FC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731837" y="1016000"/>
            <a:ext cx="10728326" cy="5256000"/>
          </a:xfrm>
          <a:solidFill>
            <a:schemeClr val="accent2"/>
          </a:solidFill>
          <a:ln>
            <a:noFill/>
          </a:ln>
        </p:spPr>
        <p:txBody>
          <a:bodyPr vert="horz" lIns="324000" tIns="11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6" name="Textplatzhalter 3">
            <a:extLst>
              <a:ext uri="{FF2B5EF4-FFF2-40B4-BE49-F238E27FC236}">
                <a16:creationId xmlns:a16="http://schemas.microsoft.com/office/drawing/2014/main" id="{5FCAD79B-EF47-46A0-9575-229F3DAA72F5}"/>
              </a:ext>
            </a:extLst>
          </p:cNvPr>
          <p:cNvSpPr>
            <a:spLocks noGrp="1"/>
          </p:cNvSpPr>
          <p:nvPr>
            <p:ph type="body" sz="quarter" idx="13" hasCustomPrompt="1"/>
          </p:nvPr>
        </p:nvSpPr>
        <p:spPr>
          <a:xfrm>
            <a:off x="1078515" y="5122625"/>
            <a:ext cx="10044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8" name="Bildplatzhalter 8">
            <a:extLst>
              <a:ext uri="{FF2B5EF4-FFF2-40B4-BE49-F238E27FC236}">
                <a16:creationId xmlns:a16="http://schemas.microsoft.com/office/drawing/2014/main" id="{72236FC6-C8FF-43C1-86B9-BF112345926F}"/>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7" name="Textplatzhalter 5">
            <a:extLst>
              <a:ext uri="{FF2B5EF4-FFF2-40B4-BE49-F238E27FC236}">
                <a16:creationId xmlns:a16="http://schemas.microsoft.com/office/drawing/2014/main" id="{789A3267-E086-4EC3-A0BB-F8ECD01A5C7E}"/>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732532068"/>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04 – Uni Zürich">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7070BA-5062-3B68-0BB4-A6D0457D1CD7}"/>
              </a:ext>
            </a:extLst>
          </p:cNvPr>
          <p:cNvGraphicFramePr>
            <a:graphicFrameLocks noChangeAspect="1"/>
          </p:cNvGraphicFramePr>
          <p:nvPr userDrawn="1">
            <p:custDataLst>
              <p:tags r:id="rId1"/>
            </p:custDataLst>
            <p:extLst>
              <p:ext uri="{D42A27DB-BD31-4B8C-83A1-F6EECF244321}">
                <p14:modId xmlns:p14="http://schemas.microsoft.com/office/powerpoint/2010/main" val="1234484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127070BA-5062-3B68-0BB4-A6D0457D1C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rgbClr val="007A96"/>
          </a:solidFill>
        </p:spPr>
        <p:txBody>
          <a:bodyPr vert="horz" lIns="1080000" tIns="252000" anchor="t" anchorCtr="0"/>
          <a:lstStyle>
            <a:lvl1pPr algn="l"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pic>
        <p:nvPicPr>
          <p:cNvPr id="4" name="Grafik 3">
            <a:extLst>
              <a:ext uri="{FF2B5EF4-FFF2-40B4-BE49-F238E27FC236}">
                <a16:creationId xmlns:a16="http://schemas.microsoft.com/office/drawing/2014/main" id="{793E2EDD-B19F-478D-BB03-AD55EC1E86B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7672" y="228020"/>
            <a:ext cx="3679200" cy="552508"/>
          </a:xfrm>
          <a:prstGeom prst="rect">
            <a:avLst/>
          </a:prstGeom>
        </p:spPr>
      </p:pic>
      <p:sp>
        <p:nvSpPr>
          <p:cNvPr id="7" name="Textplatzhalter 3">
            <a:extLst>
              <a:ext uri="{FF2B5EF4-FFF2-40B4-BE49-F238E27FC236}">
                <a16:creationId xmlns:a16="http://schemas.microsoft.com/office/drawing/2014/main" id="{D364BCB8-820F-4C3A-BA37-7048A4C8D4C3}"/>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en-GB" noProof="0" dirty="0" err="1"/>
              <a:t>Mastertextformat</a:t>
            </a:r>
            <a:r>
              <a:rPr lang="en-GB" noProof="0" dirty="0"/>
              <a:t> </a:t>
            </a:r>
            <a:r>
              <a:rPr lang="en-GB" noProof="0" dirty="0" err="1"/>
              <a:t>bearbeiten</a:t>
            </a:r>
            <a:endParaRPr lang="en-GB" noProof="0" dirty="0"/>
          </a:p>
        </p:txBody>
      </p:sp>
      <p:sp>
        <p:nvSpPr>
          <p:cNvPr id="11" name="Bildplatzhalter 8">
            <a:extLst>
              <a:ext uri="{FF2B5EF4-FFF2-40B4-BE49-F238E27FC236}">
                <a16:creationId xmlns:a16="http://schemas.microsoft.com/office/drawing/2014/main" id="{A73913C2-8DFE-4F15-B2DB-2A6D5C267009}"/>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en-GB" noProof="0" dirty="0"/>
              <a:t>Bild </a:t>
            </a:r>
            <a:r>
              <a:rPr lang="en-GB" noProof="0" dirty="0" err="1"/>
              <a:t>durch</a:t>
            </a:r>
            <a:r>
              <a:rPr lang="en-GB" noProof="0" dirty="0"/>
              <a:t> </a:t>
            </a:r>
            <a:r>
              <a:rPr lang="en-GB" noProof="0" dirty="0" err="1"/>
              <a:t>Klicken</a:t>
            </a:r>
            <a:r>
              <a:rPr lang="en-GB" noProof="0" dirty="0"/>
              <a:t> auf Symbol </a:t>
            </a:r>
            <a:r>
              <a:rPr lang="en-GB" noProof="0" dirty="0" err="1"/>
              <a:t>hinzufügen</a:t>
            </a:r>
            <a:endParaRPr lang="en-GB" noProof="0" dirty="0"/>
          </a:p>
        </p:txBody>
      </p:sp>
      <p:sp>
        <p:nvSpPr>
          <p:cNvPr id="9" name="Textplatzhalter 5">
            <a:extLst>
              <a:ext uri="{FF2B5EF4-FFF2-40B4-BE49-F238E27FC236}">
                <a16:creationId xmlns:a16="http://schemas.microsoft.com/office/drawing/2014/main" id="{791A1AD7-DB7D-4C75-BEFB-EB6D34D3B2AB}"/>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en-GB" dirty="0" err="1"/>
              <a:t>Organisationseinheit</a:t>
            </a:r>
            <a:r>
              <a:rPr lang="en-GB" dirty="0"/>
              <a:t> verbal</a:t>
            </a:r>
            <a:br>
              <a:rPr lang="en-GB" dirty="0"/>
            </a:br>
            <a:r>
              <a:rPr lang="en-GB" dirty="0"/>
              <a:t>optional auf 2 </a:t>
            </a:r>
            <a:r>
              <a:rPr lang="en-GB" dirty="0" err="1"/>
              <a:t>Zeilen</a:t>
            </a:r>
            <a:endParaRPr lang="en-GB" dirty="0"/>
          </a:p>
        </p:txBody>
      </p:sp>
    </p:spTree>
    <p:extLst>
      <p:ext uri="{BB962C8B-B14F-4D97-AF65-F5344CB8AC3E}">
        <p14:creationId xmlns:p14="http://schemas.microsoft.com/office/powerpoint/2010/main" val="278925752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F295A86-8B6C-B768-F750-85279E01609A}"/>
              </a:ext>
            </a:extLst>
          </p:cNvPr>
          <p:cNvGraphicFramePr>
            <a:graphicFrameLocks noChangeAspect="1"/>
          </p:cNvGraphicFramePr>
          <p:nvPr userDrawn="1">
            <p:custDataLst>
              <p:tags r:id="rId1"/>
            </p:custDataLst>
            <p:extLst>
              <p:ext uri="{D42A27DB-BD31-4B8C-83A1-F6EECF244321}">
                <p14:modId xmlns:p14="http://schemas.microsoft.com/office/powerpoint/2010/main" val="63474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BF295A86-8B6C-B768-F750-85279E016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p:txBody>
          <a:bodyPr/>
          <a:lstStyle>
            <a:lvl1pPr marL="539750" indent="-539750" rtl="0">
              <a:buFont typeface="+mj-lt"/>
              <a:buAutoNum type="arabicPeriod"/>
              <a:defRPr/>
            </a:lvl1pPr>
            <a:lvl2pPr marL="1079500" indent="-539750" rtl="0">
              <a:buFont typeface="+mj-lt"/>
              <a:buAutoNum type="arabicPeriod"/>
              <a:defRPr/>
            </a:lvl2pPr>
            <a:lvl3pPr marL="1612900" indent="-533400" rtl="0">
              <a:buFont typeface="+mj-lt"/>
              <a:buAutoNum type="arabicPeriod"/>
              <a:defRPr/>
            </a:lvl3pPr>
            <a:lvl4pPr marL="2152650" indent="-539750" rtl="0">
              <a:buFont typeface="+mj-lt"/>
              <a:buAutoNum type="arabicPeriod"/>
              <a:defRPr/>
            </a:lvl4pPr>
            <a:lvl5pPr marL="2692400" indent="-539750" rtl="0">
              <a:buFont typeface="+mj-lt"/>
              <a:buAutoNum type="arabicPeriod"/>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647C2CE2-14F9-453B-9EBF-664CF8F6C7D2}"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Tree>
    <p:extLst>
      <p:ext uri="{BB962C8B-B14F-4D97-AF65-F5344CB8AC3E}">
        <p14:creationId xmlns:p14="http://schemas.microsoft.com/office/powerpoint/2010/main" val="2221599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7277A93-F3FF-5C0A-2A20-3CB97AE794AF}"/>
              </a:ext>
            </a:extLst>
          </p:cNvPr>
          <p:cNvGraphicFramePr>
            <a:graphicFrameLocks noChangeAspect="1"/>
          </p:cNvGraphicFramePr>
          <p:nvPr userDrawn="1">
            <p:custDataLst>
              <p:tags r:id="rId1"/>
            </p:custDataLst>
            <p:extLst>
              <p:ext uri="{D42A27DB-BD31-4B8C-83A1-F6EECF244321}">
                <p14:modId xmlns:p14="http://schemas.microsoft.com/office/powerpoint/2010/main" val="2178928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57277A93-F3FF-5C0A-2A20-3CB97AE794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4DC3B588-0AB7-442A-991D-0BEA05B52D03}"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Tree>
    <p:extLst>
      <p:ext uri="{BB962C8B-B14F-4D97-AF65-F5344CB8AC3E}">
        <p14:creationId xmlns:p14="http://schemas.microsoft.com/office/powerpoint/2010/main" val="1888753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mit Fussn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5BB064A-2F5C-25EC-EA57-1B922278268E}"/>
              </a:ext>
            </a:extLst>
          </p:cNvPr>
          <p:cNvGraphicFramePr>
            <a:graphicFrameLocks noChangeAspect="1"/>
          </p:cNvGraphicFramePr>
          <p:nvPr userDrawn="1">
            <p:custDataLst>
              <p:tags r:id="rId1"/>
            </p:custDataLst>
            <p:extLst>
              <p:ext uri="{D42A27DB-BD31-4B8C-83A1-F6EECF244321}">
                <p14:modId xmlns:p14="http://schemas.microsoft.com/office/powerpoint/2010/main" val="593777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15BB064A-2F5C-25EC-EA57-1B92227826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0"/>
          </a:xfrm>
        </p:spPr>
        <p:txBody>
          <a:bodyPr/>
          <a:lstStyle>
            <a:lvl1pPr rtl="0">
              <a:defRPr/>
            </a:lvl1pPr>
            <a:lvl2pPr rtl="0">
              <a:defRPr/>
            </a:lvl2pPr>
            <a:lvl3pPr rtl="0">
              <a:defRPr/>
            </a:lvl3pPr>
            <a:lvl4pPr rtl="0">
              <a:defRPr/>
            </a:lvl4pPr>
            <a:lvl5pPr rtl="0">
              <a:defRPr/>
            </a:lvl5p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5FFAFC1A-1BD5-4FDD-AE77-52AC3E05B433}"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en-GB" smtClean="0"/>
              <a:pPr/>
              <a:t>‹#›</a:t>
            </a:fld>
            <a:endParaRPr lang="en-GB"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Textplatzhalter 10">
            <a:extLst>
              <a:ext uri="{FF2B5EF4-FFF2-40B4-BE49-F238E27FC236}">
                <a16:creationId xmlns:a16="http://schemas.microsoft.com/office/drawing/2014/main" id="{2F6D94FA-21C6-4AE0-AA4F-3A077810ED93}"/>
              </a:ext>
            </a:extLst>
          </p:cNvPr>
          <p:cNvSpPr>
            <a:spLocks noGrp="1"/>
          </p:cNvSpPr>
          <p:nvPr>
            <p:ph type="body" sz="quarter" idx="13" hasCustomPrompt="1"/>
          </p:nvPr>
        </p:nvSpPr>
        <p:spPr>
          <a:xfrm>
            <a:off x="731836" y="5570135"/>
            <a:ext cx="5364164" cy="721233"/>
          </a:xfrm>
        </p:spPr>
        <p:txBody>
          <a:bodyPr anchor="b" anchorCtr="0"/>
          <a:lstStyle>
            <a:lvl1pPr marL="179388" indent="-179388" rtl="0">
              <a:spcBef>
                <a:spcPts val="0"/>
              </a:spcBef>
              <a:buFont typeface="+mj-lt"/>
              <a:buAutoNum type="arabicPeriod"/>
              <a:defRPr sz="800"/>
            </a:lvl1pPr>
            <a:lvl2pPr marL="266700" indent="0">
              <a:buNone/>
              <a:defRPr sz="800"/>
            </a:lvl2pPr>
            <a:lvl3pPr marL="538163" indent="0">
              <a:buNone/>
              <a:defRPr sz="800"/>
            </a:lvl3pPr>
            <a:lvl4pPr marL="804862" indent="0">
              <a:buNone/>
              <a:defRPr sz="800"/>
            </a:lvl4pPr>
            <a:lvl5pPr marL="1076325" indent="0">
              <a:buNone/>
              <a:defRPr sz="800"/>
            </a:lvl5pPr>
          </a:lstStyle>
          <a:p>
            <a:pPr lvl="0"/>
            <a:r>
              <a:rPr lang="en-GB" noProof="0" dirty="0" err="1"/>
              <a:t>Mastertextformat</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60017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ischen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007B98-B8E7-5D06-BE36-389E1CC53E37}"/>
              </a:ext>
            </a:extLst>
          </p:cNvPr>
          <p:cNvGraphicFramePr>
            <a:graphicFrameLocks noChangeAspect="1"/>
          </p:cNvGraphicFramePr>
          <p:nvPr userDrawn="1">
            <p:custDataLst>
              <p:tags r:id="rId1"/>
            </p:custDataLst>
            <p:extLst>
              <p:ext uri="{D42A27DB-BD31-4B8C-83A1-F6EECF244321}">
                <p14:modId xmlns:p14="http://schemas.microsoft.com/office/powerpoint/2010/main" val="402924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C007B98-B8E7-5D06-BE36-389E1CC53E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a:xfrm>
            <a:off x="731837" y="2224781"/>
            <a:ext cx="10728325" cy="1260000"/>
          </a:xfrm>
        </p:spPr>
        <p:txBody>
          <a:bodyPr vert="horz"/>
          <a:lstStyle>
            <a:lvl1pPr rtl="0">
              <a:lnSpc>
                <a:spcPct val="100000"/>
              </a:lnSpc>
              <a:defRPr sz="3600">
                <a:solidFill>
                  <a:schemeClr val="bg1"/>
                </a:solidFill>
              </a:defRPr>
            </a:lvl1pPr>
          </a:lstStyle>
          <a:p>
            <a:r>
              <a:rPr lang="en-GB" noProof="0" dirty="0" err="1"/>
              <a:t>Mastertitelformat</a:t>
            </a:r>
            <a:r>
              <a:rPr lang="en-GB" noProof="0" dirty="0"/>
              <a:t> </a:t>
            </a:r>
            <a:r>
              <a:rPr lang="en-GB" noProof="0" dirty="0" err="1"/>
              <a:t>bearbeiten</a:t>
            </a:r>
            <a:endParaRPr lang="en-GB"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solidFill>
                  <a:schemeClr val="bg1"/>
                </a:solidFill>
              </a:defRPr>
            </a:lvl1pPr>
          </a:lstStyle>
          <a:p>
            <a:fld id="{E01F5CF1-E5BD-4F88-A643-A122A1DCE2B3}" type="datetime1">
              <a:rPr lang="en-GB" smtClean="0"/>
              <a:pPr/>
              <a:t>29/02/2024</a:t>
            </a:fld>
            <a:endParaRPr lang="en-GB"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solidFill>
                  <a:schemeClr val="bg1"/>
                </a:solidFill>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solidFill>
                  <a:schemeClr val="bg1"/>
                </a:solidFill>
              </a:defRPr>
            </a:lvl1pPr>
          </a:lstStyle>
          <a:p>
            <a:fld id="{5ACA52AF-F19D-405C-AD5F-7D94B96A5CC3}" type="slidenum">
              <a:rPr lang="en-GB" smtClean="0"/>
              <a:pPr/>
              <a:t>‹#›</a:t>
            </a:fld>
            <a:endParaRPr lang="en-GB" dirty="0"/>
          </a:p>
        </p:txBody>
      </p:sp>
      <p:grpSp>
        <p:nvGrpSpPr>
          <p:cNvPr id="10" name="Grafik 6">
            <a:extLst>
              <a:ext uri="{FF2B5EF4-FFF2-40B4-BE49-F238E27FC236}">
                <a16:creationId xmlns:a16="http://schemas.microsoft.com/office/drawing/2014/main" id="{7F7C476A-2849-4D68-9FA2-3A5CFC13C833}"/>
              </a:ext>
            </a:extLst>
          </p:cNvPr>
          <p:cNvGrpSpPr/>
          <p:nvPr/>
        </p:nvGrpSpPr>
        <p:grpSpPr>
          <a:xfrm>
            <a:off x="731837" y="6507088"/>
            <a:ext cx="984462" cy="162000"/>
            <a:chOff x="731837" y="6507088"/>
            <a:chExt cx="984462" cy="162000"/>
          </a:xfrm>
          <a:solidFill>
            <a:schemeClr val="bg1"/>
          </a:solidFill>
        </p:grpSpPr>
        <p:grpSp>
          <p:nvGrpSpPr>
            <p:cNvPr id="12" name="Grafik 6">
              <a:extLst>
                <a:ext uri="{FF2B5EF4-FFF2-40B4-BE49-F238E27FC236}">
                  <a16:creationId xmlns:a16="http://schemas.microsoft.com/office/drawing/2014/main" id="{7F7C476A-2849-4D68-9FA2-3A5CFC13C833}"/>
                </a:ext>
              </a:extLst>
            </p:cNvPr>
            <p:cNvGrpSpPr/>
            <p:nvPr/>
          </p:nvGrpSpPr>
          <p:grpSpPr>
            <a:xfrm>
              <a:off x="1266489" y="6555186"/>
              <a:ext cx="197463" cy="110963"/>
              <a:chOff x="1266489" y="6555186"/>
              <a:chExt cx="197463" cy="110963"/>
            </a:xfrm>
            <a:grpFill/>
          </p:grpSpPr>
          <p:sp>
            <p:nvSpPr>
              <p:cNvPr id="13" name="Freihandform: Form 12">
                <a:extLst>
                  <a:ext uri="{FF2B5EF4-FFF2-40B4-BE49-F238E27FC236}">
                    <a16:creationId xmlns:a16="http://schemas.microsoft.com/office/drawing/2014/main" id="{18BB0752-F87C-44D9-A9A5-97AF1DEDA1AE}"/>
                  </a:ext>
                </a:extLst>
              </p:cNvPr>
              <p:cNvSpPr/>
              <p:nvPr/>
            </p:nvSpPr>
            <p:spPr>
              <a:xfrm>
                <a:off x="1266489" y="6556934"/>
                <a:ext cx="95902" cy="109216"/>
              </a:xfrm>
              <a:custGeom>
                <a:avLst/>
                <a:gdLst>
                  <a:gd name="connsiteX0" fmla="*/ 66742 w 95902"/>
                  <a:gd name="connsiteY0" fmla="*/ 65797 h 109216"/>
                  <a:gd name="connsiteX1" fmla="*/ 35339 w 95902"/>
                  <a:gd name="connsiteY1" fmla="*/ 95082 h 109216"/>
                  <a:gd name="connsiteX2" fmla="*/ 15953 w 95902"/>
                  <a:gd name="connsiteY2" fmla="*/ 79537 h 109216"/>
                  <a:gd name="connsiteX3" fmla="*/ 15899 w 95902"/>
                  <a:gd name="connsiteY3" fmla="*/ 76265 h 109216"/>
                  <a:gd name="connsiteX4" fmla="*/ 16896 w 95902"/>
                  <a:gd name="connsiteY4" fmla="*/ 66295 h 109216"/>
                  <a:gd name="connsiteX5" fmla="*/ 30230 w 95902"/>
                  <a:gd name="connsiteY5" fmla="*/ 0 h 109216"/>
                  <a:gd name="connsiteX6" fmla="*/ 30230 w 95902"/>
                  <a:gd name="connsiteY6" fmla="*/ 0 h 109216"/>
                  <a:gd name="connsiteX7" fmla="*/ 14528 w 95902"/>
                  <a:gd name="connsiteY7" fmla="*/ 0 h 109216"/>
                  <a:gd name="connsiteX8" fmla="*/ 1194 w 95902"/>
                  <a:gd name="connsiteY8" fmla="*/ 67791 h 109216"/>
                  <a:gd name="connsiteX9" fmla="*/ 1194 w 95902"/>
                  <a:gd name="connsiteY9" fmla="*/ 68788 h 109216"/>
                  <a:gd name="connsiteX10" fmla="*/ 73 w 95902"/>
                  <a:gd name="connsiteY10" fmla="*/ 78508 h 109216"/>
                  <a:gd name="connsiteX11" fmla="*/ 26638 w 95902"/>
                  <a:gd name="connsiteY11" fmla="*/ 109122 h 109216"/>
                  <a:gd name="connsiteX12" fmla="*/ 29980 w 95902"/>
                  <a:gd name="connsiteY12" fmla="*/ 109163 h 109216"/>
                  <a:gd name="connsiteX13" fmla="*/ 61384 w 95902"/>
                  <a:gd name="connsiteY13" fmla="*/ 96702 h 109216"/>
                  <a:gd name="connsiteX14" fmla="*/ 59265 w 95902"/>
                  <a:gd name="connsiteY14" fmla="*/ 107917 h 109216"/>
                  <a:gd name="connsiteX15" fmla="*/ 59265 w 95902"/>
                  <a:gd name="connsiteY15" fmla="*/ 107917 h 109216"/>
                  <a:gd name="connsiteX16" fmla="*/ 74842 w 95902"/>
                  <a:gd name="connsiteY16" fmla="*/ 107917 h 109216"/>
                  <a:gd name="connsiteX17" fmla="*/ 95902 w 95902"/>
                  <a:gd name="connsiteY17" fmla="*/ 0 h 109216"/>
                  <a:gd name="connsiteX18" fmla="*/ 95902 w 95902"/>
                  <a:gd name="connsiteY18" fmla="*/ 0 h 109216"/>
                  <a:gd name="connsiteX19" fmla="*/ 79951 w 95902"/>
                  <a:gd name="connsiteY19" fmla="*/ 0 h 10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902" h="109216">
                    <a:moveTo>
                      <a:pt x="66742" y="65797"/>
                    </a:moveTo>
                    <a:cubicBezTo>
                      <a:pt x="65228" y="82115"/>
                      <a:pt x="51723" y="94709"/>
                      <a:pt x="35339" y="95082"/>
                    </a:cubicBezTo>
                    <a:cubicBezTo>
                      <a:pt x="25692" y="96142"/>
                      <a:pt x="17013" y="89183"/>
                      <a:pt x="15953" y="79537"/>
                    </a:cubicBezTo>
                    <a:cubicBezTo>
                      <a:pt x="15833" y="78450"/>
                      <a:pt x="15814" y="77355"/>
                      <a:pt x="15899" y="76265"/>
                    </a:cubicBezTo>
                    <a:cubicBezTo>
                      <a:pt x="15976" y="72921"/>
                      <a:pt x="16309" y="69588"/>
                      <a:pt x="16896" y="66295"/>
                    </a:cubicBezTo>
                    <a:lnTo>
                      <a:pt x="30230" y="0"/>
                    </a:lnTo>
                    <a:lnTo>
                      <a:pt x="30230" y="0"/>
                    </a:lnTo>
                    <a:lnTo>
                      <a:pt x="14528" y="0"/>
                    </a:lnTo>
                    <a:lnTo>
                      <a:pt x="1194" y="67791"/>
                    </a:lnTo>
                    <a:lnTo>
                      <a:pt x="1194" y="68788"/>
                    </a:lnTo>
                    <a:cubicBezTo>
                      <a:pt x="472" y="71978"/>
                      <a:pt x="95" y="75237"/>
                      <a:pt x="73" y="78508"/>
                    </a:cubicBezTo>
                    <a:cubicBezTo>
                      <a:pt x="-1045" y="94298"/>
                      <a:pt x="10848" y="108004"/>
                      <a:pt x="26638" y="109122"/>
                    </a:cubicBezTo>
                    <a:cubicBezTo>
                      <a:pt x="27751" y="109200"/>
                      <a:pt x="28866" y="109214"/>
                      <a:pt x="29980" y="109163"/>
                    </a:cubicBezTo>
                    <a:cubicBezTo>
                      <a:pt x="41760" y="109765"/>
                      <a:pt x="53221" y="105218"/>
                      <a:pt x="61384" y="96702"/>
                    </a:cubicBezTo>
                    <a:lnTo>
                      <a:pt x="59265" y="107917"/>
                    </a:lnTo>
                    <a:lnTo>
                      <a:pt x="59265" y="107917"/>
                    </a:lnTo>
                    <a:lnTo>
                      <a:pt x="74842" y="107917"/>
                    </a:lnTo>
                    <a:lnTo>
                      <a:pt x="95902" y="0"/>
                    </a:lnTo>
                    <a:lnTo>
                      <a:pt x="95902" y="0"/>
                    </a:lnTo>
                    <a:lnTo>
                      <a:pt x="79951" y="0"/>
                    </a:lnTo>
                    <a:close/>
                  </a:path>
                </a:pathLst>
              </a:custGeom>
              <a:grpFill/>
              <a:ln w="12419" cap="flat">
                <a:noFill/>
                <a:prstDash val="solid"/>
                <a:miter/>
              </a:ln>
            </p:spPr>
            <p:txBody>
              <a:bodyPr rtlCol="0" anchor="ctr"/>
              <a:lstStyle/>
              <a:p>
                <a:pPr rtl="0"/>
                <a:endParaRPr lang="en-GB" noProof="0" dirty="0"/>
              </a:p>
            </p:txBody>
          </p:sp>
          <p:sp>
            <p:nvSpPr>
              <p:cNvPr id="14" name="Freihandform: Form 13">
                <a:extLst>
                  <a:ext uri="{FF2B5EF4-FFF2-40B4-BE49-F238E27FC236}">
                    <a16:creationId xmlns:a16="http://schemas.microsoft.com/office/drawing/2014/main" id="{ED44DE23-7081-4AC9-BF06-502BEC71C004}"/>
                  </a:ext>
                </a:extLst>
              </p:cNvPr>
              <p:cNvSpPr/>
              <p:nvPr/>
            </p:nvSpPr>
            <p:spPr>
              <a:xfrm>
                <a:off x="1376472" y="6555186"/>
                <a:ext cx="87480" cy="109664"/>
              </a:xfrm>
              <a:custGeom>
                <a:avLst/>
                <a:gdLst>
                  <a:gd name="connsiteX0" fmla="*/ 64302 w 87480"/>
                  <a:gd name="connsiteY0" fmla="*/ 3 h 109664"/>
                  <a:gd name="connsiteX1" fmla="*/ 34518 w 87480"/>
                  <a:gd name="connsiteY1" fmla="*/ 14209 h 109664"/>
                  <a:gd name="connsiteX2" fmla="*/ 36886 w 87480"/>
                  <a:gd name="connsiteY2" fmla="*/ 1747 h 109664"/>
                  <a:gd name="connsiteX3" fmla="*/ 36886 w 87480"/>
                  <a:gd name="connsiteY3" fmla="*/ 1747 h 109664"/>
                  <a:gd name="connsiteX4" fmla="*/ 21434 w 87480"/>
                  <a:gd name="connsiteY4" fmla="*/ 1747 h 109664"/>
                  <a:gd name="connsiteX5" fmla="*/ 0 w 87480"/>
                  <a:gd name="connsiteY5" fmla="*/ 109664 h 109664"/>
                  <a:gd name="connsiteX6" fmla="*/ 0 w 87480"/>
                  <a:gd name="connsiteY6" fmla="*/ 109664 h 109664"/>
                  <a:gd name="connsiteX7" fmla="*/ 15826 w 87480"/>
                  <a:gd name="connsiteY7" fmla="*/ 109664 h 109664"/>
                  <a:gd name="connsiteX8" fmla="*/ 28288 w 87480"/>
                  <a:gd name="connsiteY8" fmla="*/ 43493 h 109664"/>
                  <a:gd name="connsiteX9" fmla="*/ 59940 w 87480"/>
                  <a:gd name="connsiteY9" fmla="*/ 14209 h 109664"/>
                  <a:gd name="connsiteX10" fmla="*/ 75019 w 87480"/>
                  <a:gd name="connsiteY10" fmla="*/ 21810 h 109664"/>
                  <a:gd name="connsiteX11" fmla="*/ 75019 w 87480"/>
                  <a:gd name="connsiteY11" fmla="*/ 21810 h 109664"/>
                  <a:gd name="connsiteX12" fmla="*/ 87480 w 87480"/>
                  <a:gd name="connsiteY12" fmla="*/ 10346 h 109664"/>
                  <a:gd name="connsiteX13" fmla="*/ 87480 w 87480"/>
                  <a:gd name="connsiteY13" fmla="*/ 10346 h 109664"/>
                  <a:gd name="connsiteX14" fmla="*/ 63928 w 87480"/>
                  <a:gd name="connsiteY14" fmla="*/ 252 h 1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480" h="109664">
                    <a:moveTo>
                      <a:pt x="64302" y="3"/>
                    </a:moveTo>
                    <a:cubicBezTo>
                      <a:pt x="52709" y="-136"/>
                      <a:pt x="41706" y="5111"/>
                      <a:pt x="34518" y="14209"/>
                    </a:cubicBezTo>
                    <a:lnTo>
                      <a:pt x="36886" y="1747"/>
                    </a:lnTo>
                    <a:lnTo>
                      <a:pt x="36886" y="1747"/>
                    </a:lnTo>
                    <a:lnTo>
                      <a:pt x="21434" y="1747"/>
                    </a:lnTo>
                    <a:lnTo>
                      <a:pt x="0" y="109664"/>
                    </a:lnTo>
                    <a:lnTo>
                      <a:pt x="0" y="109664"/>
                    </a:lnTo>
                    <a:lnTo>
                      <a:pt x="15826" y="109664"/>
                    </a:lnTo>
                    <a:lnTo>
                      <a:pt x="28288" y="43493"/>
                    </a:lnTo>
                    <a:cubicBezTo>
                      <a:pt x="30515" y="27438"/>
                      <a:pt x="43760" y="15183"/>
                      <a:pt x="59940" y="14209"/>
                    </a:cubicBezTo>
                    <a:cubicBezTo>
                      <a:pt x="65919" y="14072"/>
                      <a:pt x="71573" y="16922"/>
                      <a:pt x="75019" y="21810"/>
                    </a:cubicBezTo>
                    <a:lnTo>
                      <a:pt x="75019" y="21810"/>
                    </a:lnTo>
                    <a:lnTo>
                      <a:pt x="87480" y="10346"/>
                    </a:lnTo>
                    <a:lnTo>
                      <a:pt x="87480" y="10346"/>
                    </a:lnTo>
                    <a:cubicBezTo>
                      <a:pt x="81552" y="3603"/>
                      <a:pt x="72899" y="-105"/>
                      <a:pt x="63928" y="252"/>
                    </a:cubicBezTo>
                  </a:path>
                </a:pathLst>
              </a:custGeom>
              <a:grpFill/>
              <a:ln w="12419" cap="flat">
                <a:noFill/>
                <a:prstDash val="solid"/>
                <a:miter/>
              </a:ln>
            </p:spPr>
            <p:txBody>
              <a:bodyPr rtlCol="0" anchor="ctr"/>
              <a:lstStyle/>
              <a:p>
                <a:pPr rtl="0"/>
                <a:endParaRPr lang="en-GB" noProof="0" dirty="0"/>
              </a:p>
            </p:txBody>
          </p:sp>
        </p:grpSp>
        <p:sp>
          <p:nvSpPr>
            <p:cNvPr id="15" name="Freihandform: Form 14">
              <a:extLst>
                <a:ext uri="{FF2B5EF4-FFF2-40B4-BE49-F238E27FC236}">
                  <a16:creationId xmlns:a16="http://schemas.microsoft.com/office/drawing/2014/main" id="{18C24FD2-AEE2-43CA-8EB3-8E646C2E5E46}"/>
                </a:ext>
              </a:extLst>
            </p:cNvPr>
            <p:cNvSpPr/>
            <p:nvPr/>
          </p:nvSpPr>
          <p:spPr>
            <a:xfrm>
              <a:off x="1159517" y="6556560"/>
              <a:ext cx="96452" cy="108166"/>
            </a:xfrm>
            <a:custGeom>
              <a:avLst/>
              <a:gdLst>
                <a:gd name="connsiteX0" fmla="*/ 23303 w 96452"/>
                <a:gd name="connsiteY0" fmla="*/ 0 h 108166"/>
                <a:gd name="connsiteX1" fmla="*/ 20562 w 96452"/>
                <a:gd name="connsiteY1" fmla="*/ 13708 h 108166"/>
                <a:gd name="connsiteX2" fmla="*/ 20562 w 96452"/>
                <a:gd name="connsiteY2" fmla="*/ 13957 h 108166"/>
                <a:gd name="connsiteX3" fmla="*/ 74271 w 96452"/>
                <a:gd name="connsiteY3" fmla="*/ 13957 h 108166"/>
                <a:gd name="connsiteX4" fmla="*/ 2742 w 96452"/>
                <a:gd name="connsiteY4" fmla="*/ 94957 h 108166"/>
                <a:gd name="connsiteX5" fmla="*/ 2617 w 96452"/>
                <a:gd name="connsiteY5" fmla="*/ 94957 h 108166"/>
                <a:gd name="connsiteX6" fmla="*/ 0 w 96452"/>
                <a:gd name="connsiteY6" fmla="*/ 108166 h 108166"/>
                <a:gd name="connsiteX7" fmla="*/ 76265 w 96452"/>
                <a:gd name="connsiteY7" fmla="*/ 108166 h 108166"/>
                <a:gd name="connsiteX8" fmla="*/ 79006 w 96452"/>
                <a:gd name="connsiteY8" fmla="*/ 94209 h 108166"/>
                <a:gd name="connsiteX9" fmla="*/ 21932 w 96452"/>
                <a:gd name="connsiteY9" fmla="*/ 94209 h 108166"/>
                <a:gd name="connsiteX10" fmla="*/ 93835 w 96452"/>
                <a:gd name="connsiteY10" fmla="*/ 13209 h 108166"/>
                <a:gd name="connsiteX11" fmla="*/ 93835 w 96452"/>
                <a:gd name="connsiteY11" fmla="*/ 13209 h 108166"/>
                <a:gd name="connsiteX12" fmla="*/ 96452 w 96452"/>
                <a:gd name="connsiteY12" fmla="*/ 0 h 108166"/>
                <a:gd name="connsiteX13" fmla="*/ 23303 w 96452"/>
                <a:gd name="connsiteY13"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52" h="108166">
                  <a:moveTo>
                    <a:pt x="23303" y="0"/>
                  </a:moveTo>
                  <a:lnTo>
                    <a:pt x="20562" y="13708"/>
                  </a:lnTo>
                  <a:lnTo>
                    <a:pt x="20562" y="13957"/>
                  </a:lnTo>
                  <a:lnTo>
                    <a:pt x="74271" y="13957"/>
                  </a:lnTo>
                  <a:lnTo>
                    <a:pt x="2742" y="94957"/>
                  </a:lnTo>
                  <a:lnTo>
                    <a:pt x="2617" y="94957"/>
                  </a:lnTo>
                  <a:lnTo>
                    <a:pt x="0" y="108166"/>
                  </a:lnTo>
                  <a:lnTo>
                    <a:pt x="76265" y="108166"/>
                  </a:lnTo>
                  <a:lnTo>
                    <a:pt x="79006" y="94209"/>
                  </a:lnTo>
                  <a:lnTo>
                    <a:pt x="21932" y="94209"/>
                  </a:lnTo>
                  <a:lnTo>
                    <a:pt x="93835" y="13209"/>
                  </a:lnTo>
                  <a:lnTo>
                    <a:pt x="93835" y="13209"/>
                  </a:lnTo>
                  <a:lnTo>
                    <a:pt x="96452" y="0"/>
                  </a:lnTo>
                  <a:lnTo>
                    <a:pt x="23303" y="0"/>
                  </a:lnTo>
                  <a:close/>
                </a:path>
              </a:pathLst>
            </a:custGeom>
            <a:grpFill/>
            <a:ln w="12419" cap="flat">
              <a:noFill/>
              <a:prstDash val="solid"/>
              <a:miter/>
            </a:ln>
          </p:spPr>
          <p:txBody>
            <a:bodyPr rtlCol="0" anchor="ctr"/>
            <a:lstStyle/>
            <a:p>
              <a:pPr rtl="0"/>
              <a:endParaRPr lang="en-GB" noProof="0" dirty="0"/>
            </a:p>
          </p:txBody>
        </p:sp>
        <p:sp>
          <p:nvSpPr>
            <p:cNvPr id="16" name="Freihandform: Form 15">
              <a:extLst>
                <a:ext uri="{FF2B5EF4-FFF2-40B4-BE49-F238E27FC236}">
                  <a16:creationId xmlns:a16="http://schemas.microsoft.com/office/drawing/2014/main" id="{AEE7F6F4-4D2C-45B3-A061-9606B2BD36A7}"/>
                </a:ext>
              </a:extLst>
            </p:cNvPr>
            <p:cNvSpPr/>
            <p:nvPr/>
          </p:nvSpPr>
          <p:spPr>
            <a:xfrm>
              <a:off x="1466445" y="6556560"/>
              <a:ext cx="37259" cy="108166"/>
            </a:xfrm>
            <a:custGeom>
              <a:avLst/>
              <a:gdLst>
                <a:gd name="connsiteX0" fmla="*/ 21683 w 37259"/>
                <a:gd name="connsiteY0" fmla="*/ 0 h 108166"/>
                <a:gd name="connsiteX1" fmla="*/ 0 w 37259"/>
                <a:gd name="connsiteY1" fmla="*/ 107917 h 108166"/>
                <a:gd name="connsiteX2" fmla="*/ 0 w 37259"/>
                <a:gd name="connsiteY2" fmla="*/ 108166 h 108166"/>
                <a:gd name="connsiteX3" fmla="*/ 15702 w 37259"/>
                <a:gd name="connsiteY3" fmla="*/ 108166 h 108166"/>
                <a:gd name="connsiteX4" fmla="*/ 37260 w 37259"/>
                <a:gd name="connsiteY4" fmla="*/ 0 h 108166"/>
                <a:gd name="connsiteX5" fmla="*/ 21683 w 37259"/>
                <a:gd name="connsiteY5"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59" h="108166">
                  <a:moveTo>
                    <a:pt x="21683" y="0"/>
                  </a:moveTo>
                  <a:lnTo>
                    <a:pt x="0" y="107917"/>
                  </a:lnTo>
                  <a:lnTo>
                    <a:pt x="0" y="108166"/>
                  </a:lnTo>
                  <a:lnTo>
                    <a:pt x="15702" y="108166"/>
                  </a:lnTo>
                  <a:lnTo>
                    <a:pt x="37260" y="0"/>
                  </a:lnTo>
                  <a:lnTo>
                    <a:pt x="21683" y="0"/>
                  </a:lnTo>
                  <a:close/>
                </a:path>
              </a:pathLst>
            </a:custGeom>
            <a:grpFill/>
            <a:ln w="12419" cap="flat">
              <a:noFill/>
              <a:prstDash val="solid"/>
              <a:miter/>
            </a:ln>
          </p:spPr>
          <p:txBody>
            <a:bodyPr rtlCol="0" anchor="ctr"/>
            <a:lstStyle/>
            <a:p>
              <a:pPr rtl="0"/>
              <a:endParaRPr lang="en-GB" noProof="0" dirty="0"/>
            </a:p>
          </p:txBody>
        </p:sp>
        <p:grpSp>
          <p:nvGrpSpPr>
            <p:cNvPr id="17" name="Grafik 6">
              <a:extLst>
                <a:ext uri="{FF2B5EF4-FFF2-40B4-BE49-F238E27FC236}">
                  <a16:creationId xmlns:a16="http://schemas.microsoft.com/office/drawing/2014/main" id="{7F7C476A-2849-4D68-9FA2-3A5CFC13C833}"/>
                </a:ext>
              </a:extLst>
            </p:cNvPr>
            <p:cNvGrpSpPr/>
            <p:nvPr/>
          </p:nvGrpSpPr>
          <p:grpSpPr>
            <a:xfrm>
              <a:off x="1518879" y="6507337"/>
              <a:ext cx="191395" cy="158803"/>
              <a:chOff x="1518879" y="6507337"/>
              <a:chExt cx="191395" cy="158803"/>
            </a:xfrm>
            <a:grpFill/>
          </p:grpSpPr>
          <p:sp>
            <p:nvSpPr>
              <p:cNvPr id="18" name="Freihandform: Form 17">
                <a:extLst>
                  <a:ext uri="{FF2B5EF4-FFF2-40B4-BE49-F238E27FC236}">
                    <a16:creationId xmlns:a16="http://schemas.microsoft.com/office/drawing/2014/main" id="{B2186F78-5D28-4695-8B1C-5A3F1A53AAB3}"/>
                  </a:ext>
                </a:extLst>
              </p:cNvPr>
              <p:cNvSpPr/>
              <p:nvPr/>
            </p:nvSpPr>
            <p:spPr>
              <a:xfrm>
                <a:off x="1614114" y="6507337"/>
                <a:ext cx="96160" cy="157638"/>
              </a:xfrm>
              <a:custGeom>
                <a:avLst/>
                <a:gdLst>
                  <a:gd name="connsiteX0" fmla="*/ 66046 w 96160"/>
                  <a:gd name="connsiteY0" fmla="*/ 47852 h 157638"/>
                  <a:gd name="connsiteX1" fmla="*/ 35142 w 96160"/>
                  <a:gd name="connsiteY1" fmla="*/ 60314 h 157638"/>
                  <a:gd name="connsiteX2" fmla="*/ 47603 w 96160"/>
                  <a:gd name="connsiteY2" fmla="*/ 0 h 157638"/>
                  <a:gd name="connsiteX3" fmla="*/ 31652 w 96160"/>
                  <a:gd name="connsiteY3" fmla="*/ 0 h 157638"/>
                  <a:gd name="connsiteX4" fmla="*/ 0 w 96160"/>
                  <a:gd name="connsiteY4" fmla="*/ 157389 h 157638"/>
                  <a:gd name="connsiteX5" fmla="*/ 15701 w 96160"/>
                  <a:gd name="connsiteY5" fmla="*/ 157389 h 157638"/>
                  <a:gd name="connsiteX6" fmla="*/ 28911 w 96160"/>
                  <a:gd name="connsiteY6" fmla="*/ 91218 h 157638"/>
                  <a:gd name="connsiteX7" fmla="*/ 60563 w 96160"/>
                  <a:gd name="connsiteY7" fmla="*/ 62058 h 157638"/>
                  <a:gd name="connsiteX8" fmla="*/ 79837 w 96160"/>
                  <a:gd name="connsiteY8" fmla="*/ 77742 h 157638"/>
                  <a:gd name="connsiteX9" fmla="*/ 79878 w 96160"/>
                  <a:gd name="connsiteY9" fmla="*/ 80875 h 157638"/>
                  <a:gd name="connsiteX10" fmla="*/ 78757 w 96160"/>
                  <a:gd name="connsiteY10" fmla="*/ 90969 h 157638"/>
                  <a:gd name="connsiteX11" fmla="*/ 65423 w 96160"/>
                  <a:gd name="connsiteY11" fmla="*/ 157638 h 157638"/>
                  <a:gd name="connsiteX12" fmla="*/ 81125 w 96160"/>
                  <a:gd name="connsiteY12" fmla="*/ 157638 h 157638"/>
                  <a:gd name="connsiteX13" fmla="*/ 94957 w 96160"/>
                  <a:gd name="connsiteY13" fmla="*/ 89474 h 157638"/>
                  <a:gd name="connsiteX14" fmla="*/ 96078 w 96160"/>
                  <a:gd name="connsiteY14" fmla="*/ 78757 h 157638"/>
                  <a:gd name="connsiteX15" fmla="*/ 69522 w 96160"/>
                  <a:gd name="connsiteY15" fmla="*/ 47902 h 157638"/>
                  <a:gd name="connsiteX16" fmla="*/ 66046 w 96160"/>
                  <a:gd name="connsiteY16" fmla="*/ 47852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160" h="157638">
                    <a:moveTo>
                      <a:pt x="66046" y="47852"/>
                    </a:moveTo>
                    <a:cubicBezTo>
                      <a:pt x="54431" y="47363"/>
                      <a:pt x="43168" y="51904"/>
                      <a:pt x="35142" y="60314"/>
                    </a:cubicBezTo>
                    <a:lnTo>
                      <a:pt x="47603" y="0"/>
                    </a:lnTo>
                    <a:lnTo>
                      <a:pt x="31652" y="0"/>
                    </a:lnTo>
                    <a:lnTo>
                      <a:pt x="0" y="157389"/>
                    </a:lnTo>
                    <a:lnTo>
                      <a:pt x="15701" y="157389"/>
                    </a:lnTo>
                    <a:lnTo>
                      <a:pt x="28911" y="91218"/>
                    </a:lnTo>
                    <a:cubicBezTo>
                      <a:pt x="30603" y="74910"/>
                      <a:pt x="44170" y="62411"/>
                      <a:pt x="60563" y="62058"/>
                    </a:cubicBezTo>
                    <a:cubicBezTo>
                      <a:pt x="70216" y="61067"/>
                      <a:pt x="78845" y="68088"/>
                      <a:pt x="79837" y="77742"/>
                    </a:cubicBezTo>
                    <a:cubicBezTo>
                      <a:pt x="79945" y="78783"/>
                      <a:pt x="79958" y="79832"/>
                      <a:pt x="79878" y="80875"/>
                    </a:cubicBezTo>
                    <a:cubicBezTo>
                      <a:pt x="79822" y="84268"/>
                      <a:pt x="79446" y="87647"/>
                      <a:pt x="78757" y="90969"/>
                    </a:cubicBezTo>
                    <a:lnTo>
                      <a:pt x="65423" y="157638"/>
                    </a:lnTo>
                    <a:lnTo>
                      <a:pt x="81125" y="157638"/>
                    </a:lnTo>
                    <a:lnTo>
                      <a:pt x="94957" y="89474"/>
                    </a:lnTo>
                    <a:cubicBezTo>
                      <a:pt x="95657" y="85943"/>
                      <a:pt x="96034" y="82356"/>
                      <a:pt x="96078" y="78757"/>
                    </a:cubicBezTo>
                    <a:cubicBezTo>
                      <a:pt x="97265" y="62903"/>
                      <a:pt x="85375" y="49089"/>
                      <a:pt x="69522" y="47902"/>
                    </a:cubicBezTo>
                    <a:cubicBezTo>
                      <a:pt x="68365" y="47815"/>
                      <a:pt x="67205" y="47799"/>
                      <a:pt x="66046" y="47852"/>
                    </a:cubicBezTo>
                  </a:path>
                </a:pathLst>
              </a:custGeom>
              <a:grpFill/>
              <a:ln w="12419" cap="flat">
                <a:noFill/>
                <a:prstDash val="solid"/>
                <a:miter/>
              </a:ln>
            </p:spPr>
            <p:txBody>
              <a:bodyPr rtlCol="0" anchor="ctr"/>
              <a:lstStyle/>
              <a:p>
                <a:pPr rtl="0"/>
                <a:endParaRPr lang="en-GB" noProof="0" dirty="0"/>
              </a:p>
            </p:txBody>
          </p:sp>
          <p:sp>
            <p:nvSpPr>
              <p:cNvPr id="19" name="Freihandform: Form 18">
                <a:extLst>
                  <a:ext uri="{FF2B5EF4-FFF2-40B4-BE49-F238E27FC236}">
                    <a16:creationId xmlns:a16="http://schemas.microsoft.com/office/drawing/2014/main" id="{1FE5475E-83C3-4BE3-BBF1-FAE9A6986B3F}"/>
                  </a:ext>
                </a:extLst>
              </p:cNvPr>
              <p:cNvSpPr/>
              <p:nvPr/>
            </p:nvSpPr>
            <p:spPr>
              <a:xfrm>
                <a:off x="1518879" y="6555189"/>
                <a:ext cx="87882" cy="110951"/>
              </a:xfrm>
              <a:custGeom>
                <a:avLst/>
                <a:gdLst>
                  <a:gd name="connsiteX0" fmla="*/ 56853 w 87882"/>
                  <a:gd name="connsiteY0" fmla="*/ 0 h 110951"/>
                  <a:gd name="connsiteX1" fmla="*/ 1649 w 87882"/>
                  <a:gd name="connsiteY1" fmla="*/ 55329 h 110951"/>
                  <a:gd name="connsiteX2" fmla="*/ 153 w 87882"/>
                  <a:gd name="connsiteY2" fmla="*/ 71903 h 110951"/>
                  <a:gd name="connsiteX3" fmla="*/ 32484 w 87882"/>
                  <a:gd name="connsiteY3" fmla="*/ 110801 h 110951"/>
                  <a:gd name="connsiteX4" fmla="*/ 37538 w 87882"/>
                  <a:gd name="connsiteY4" fmla="*/ 110908 h 110951"/>
                  <a:gd name="connsiteX5" fmla="*/ 73552 w 87882"/>
                  <a:gd name="connsiteY5" fmla="*/ 95705 h 110951"/>
                  <a:gd name="connsiteX6" fmla="*/ 73552 w 87882"/>
                  <a:gd name="connsiteY6" fmla="*/ 95705 h 110951"/>
                  <a:gd name="connsiteX7" fmla="*/ 64455 w 87882"/>
                  <a:gd name="connsiteY7" fmla="*/ 84614 h 110951"/>
                  <a:gd name="connsiteX8" fmla="*/ 64455 w 87882"/>
                  <a:gd name="connsiteY8" fmla="*/ 84614 h 110951"/>
                  <a:gd name="connsiteX9" fmla="*/ 64455 w 87882"/>
                  <a:gd name="connsiteY9" fmla="*/ 84614 h 110951"/>
                  <a:gd name="connsiteX10" fmla="*/ 38535 w 87882"/>
                  <a:gd name="connsiteY10" fmla="*/ 97075 h 110951"/>
                  <a:gd name="connsiteX11" fmla="*/ 15233 w 87882"/>
                  <a:gd name="connsiteY11" fmla="*/ 75551 h 110951"/>
                  <a:gd name="connsiteX12" fmla="*/ 15356 w 87882"/>
                  <a:gd name="connsiteY12" fmla="*/ 72152 h 110951"/>
                  <a:gd name="connsiteX13" fmla="*/ 17101 w 87882"/>
                  <a:gd name="connsiteY13" fmla="*/ 55952 h 110951"/>
                  <a:gd name="connsiteX14" fmla="*/ 31058 w 87882"/>
                  <a:gd name="connsiteY14" fmla="*/ 25048 h 110951"/>
                  <a:gd name="connsiteX15" fmla="*/ 55233 w 87882"/>
                  <a:gd name="connsiteY15" fmla="*/ 14206 h 110951"/>
                  <a:gd name="connsiteX16" fmla="*/ 76293 w 87882"/>
                  <a:gd name="connsiteY16" fmla="*/ 26668 h 110951"/>
                  <a:gd name="connsiteX17" fmla="*/ 76293 w 87882"/>
                  <a:gd name="connsiteY17" fmla="*/ 26668 h 110951"/>
                  <a:gd name="connsiteX18" fmla="*/ 87883 w 87882"/>
                  <a:gd name="connsiteY18" fmla="*/ 16823 h 110951"/>
                  <a:gd name="connsiteX19" fmla="*/ 87883 w 87882"/>
                  <a:gd name="connsiteY19" fmla="*/ 16823 h 110951"/>
                  <a:gd name="connsiteX20" fmla="*/ 56729 w 87882"/>
                  <a:gd name="connsiteY20" fmla="*/ 748 h 1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7882" h="110951">
                    <a:moveTo>
                      <a:pt x="56853" y="0"/>
                    </a:moveTo>
                    <a:cubicBezTo>
                      <a:pt x="28192" y="0"/>
                      <a:pt x="8129" y="20188"/>
                      <a:pt x="1649" y="55329"/>
                    </a:cubicBezTo>
                    <a:cubicBezTo>
                      <a:pt x="671" y="60800"/>
                      <a:pt x="170" y="66345"/>
                      <a:pt x="153" y="71903"/>
                    </a:cubicBezTo>
                    <a:cubicBezTo>
                      <a:pt x="-1660" y="91572"/>
                      <a:pt x="12814" y="108987"/>
                      <a:pt x="32484" y="110801"/>
                    </a:cubicBezTo>
                    <a:cubicBezTo>
                      <a:pt x="34163" y="110955"/>
                      <a:pt x="35853" y="110991"/>
                      <a:pt x="37538" y="110908"/>
                    </a:cubicBezTo>
                    <a:cubicBezTo>
                      <a:pt x="51112" y="110955"/>
                      <a:pt x="64118" y="105465"/>
                      <a:pt x="73552" y="95705"/>
                    </a:cubicBezTo>
                    <a:lnTo>
                      <a:pt x="73552" y="95705"/>
                    </a:lnTo>
                    <a:lnTo>
                      <a:pt x="64455" y="84614"/>
                    </a:lnTo>
                    <a:lnTo>
                      <a:pt x="64455" y="84614"/>
                    </a:lnTo>
                    <a:lnTo>
                      <a:pt x="64455" y="84614"/>
                    </a:lnTo>
                    <a:cubicBezTo>
                      <a:pt x="58138" y="92466"/>
                      <a:pt x="48613" y="97045"/>
                      <a:pt x="38535" y="97075"/>
                    </a:cubicBezTo>
                    <a:cubicBezTo>
                      <a:pt x="26157" y="97566"/>
                      <a:pt x="15724" y="87929"/>
                      <a:pt x="15233" y="75551"/>
                    </a:cubicBezTo>
                    <a:cubicBezTo>
                      <a:pt x="15188" y="74416"/>
                      <a:pt x="15229" y="73280"/>
                      <a:pt x="15356" y="72152"/>
                    </a:cubicBezTo>
                    <a:cubicBezTo>
                      <a:pt x="15424" y="66709"/>
                      <a:pt x="16008" y="61285"/>
                      <a:pt x="17101" y="55952"/>
                    </a:cubicBezTo>
                    <a:cubicBezTo>
                      <a:pt x="18838" y="44568"/>
                      <a:pt x="23666" y="33878"/>
                      <a:pt x="31058" y="25048"/>
                    </a:cubicBezTo>
                    <a:cubicBezTo>
                      <a:pt x="37213" y="18167"/>
                      <a:pt x="46002" y="14225"/>
                      <a:pt x="55233" y="14206"/>
                    </a:cubicBezTo>
                    <a:cubicBezTo>
                      <a:pt x="64085" y="13892"/>
                      <a:pt x="72308" y="18758"/>
                      <a:pt x="76293" y="26668"/>
                    </a:cubicBezTo>
                    <a:lnTo>
                      <a:pt x="76293" y="26668"/>
                    </a:lnTo>
                    <a:lnTo>
                      <a:pt x="87883" y="16823"/>
                    </a:lnTo>
                    <a:lnTo>
                      <a:pt x="87883" y="16823"/>
                    </a:lnTo>
                    <a:cubicBezTo>
                      <a:pt x="81104" y="6298"/>
                      <a:pt x="69235" y="174"/>
                      <a:pt x="56729" y="748"/>
                    </a:cubicBezTo>
                  </a:path>
                </a:pathLst>
              </a:custGeom>
              <a:grpFill/>
              <a:ln w="12419" cap="flat">
                <a:noFill/>
                <a:prstDash val="solid"/>
                <a:miter/>
              </a:ln>
            </p:spPr>
            <p:txBody>
              <a:bodyPr rtlCol="0" anchor="ctr"/>
              <a:lstStyle/>
              <a:p>
                <a:pPr rtl="0"/>
                <a:endParaRPr lang="en-GB" noProof="0" dirty="0"/>
              </a:p>
            </p:txBody>
          </p:sp>
        </p:grpSp>
        <p:sp>
          <p:nvSpPr>
            <p:cNvPr id="20" name="Freihandform: Form 19">
              <a:extLst>
                <a:ext uri="{FF2B5EF4-FFF2-40B4-BE49-F238E27FC236}">
                  <a16:creationId xmlns:a16="http://schemas.microsoft.com/office/drawing/2014/main" id="{41B77B6E-E7CB-412B-95AC-A9322C6799BB}"/>
                </a:ext>
              </a:extLst>
            </p:cNvPr>
            <p:cNvSpPr/>
            <p:nvPr/>
          </p:nvSpPr>
          <p:spPr>
            <a:xfrm>
              <a:off x="1493985"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1" name="Freihandform: Form 20">
              <a:extLst>
                <a:ext uri="{FF2B5EF4-FFF2-40B4-BE49-F238E27FC236}">
                  <a16:creationId xmlns:a16="http://schemas.microsoft.com/office/drawing/2014/main" id="{832E5C1A-13CE-49A6-B590-B6EAA5F9E1AD}"/>
                </a:ext>
              </a:extLst>
            </p:cNvPr>
            <p:cNvSpPr/>
            <p:nvPr/>
          </p:nvSpPr>
          <p:spPr>
            <a:xfrm>
              <a:off x="1340708"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2" name="Freihandform: Form 21">
              <a:extLst>
                <a:ext uri="{FF2B5EF4-FFF2-40B4-BE49-F238E27FC236}">
                  <a16:creationId xmlns:a16="http://schemas.microsoft.com/office/drawing/2014/main" id="{63AE00B0-780F-4053-8FE9-B7D321217AFF}"/>
                </a:ext>
              </a:extLst>
            </p:cNvPr>
            <p:cNvSpPr/>
            <p:nvPr/>
          </p:nvSpPr>
          <p:spPr>
            <a:xfrm>
              <a:off x="1298712" y="6507088"/>
              <a:ext cx="19689" cy="19689"/>
            </a:xfrm>
            <a:custGeom>
              <a:avLst/>
              <a:gdLst>
                <a:gd name="connsiteX0" fmla="*/ 3988 w 19689"/>
                <a:gd name="connsiteY0" fmla="*/ 0 h 19689"/>
                <a:gd name="connsiteX1" fmla="*/ 0 w 19689"/>
                <a:gd name="connsiteY1" fmla="*/ 19689 h 19689"/>
                <a:gd name="connsiteX2" fmla="*/ 15702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702" y="19689"/>
                  </a:lnTo>
                  <a:lnTo>
                    <a:pt x="19689" y="0"/>
                  </a:lnTo>
                  <a:lnTo>
                    <a:pt x="3988" y="0"/>
                  </a:lnTo>
                  <a:close/>
                </a:path>
              </a:pathLst>
            </a:custGeom>
            <a:grpFill/>
            <a:ln w="12419" cap="flat">
              <a:noFill/>
              <a:prstDash val="solid"/>
              <a:miter/>
            </a:ln>
          </p:spPr>
          <p:txBody>
            <a:bodyPr rtlCol="0" anchor="ctr"/>
            <a:lstStyle/>
            <a:p>
              <a:pPr rtl="0"/>
              <a:endParaRPr lang="en-GB" noProof="0" dirty="0"/>
            </a:p>
          </p:txBody>
        </p:sp>
        <p:sp>
          <p:nvSpPr>
            <p:cNvPr id="23" name="Freihandform: Form 22">
              <a:extLst>
                <a:ext uri="{FF2B5EF4-FFF2-40B4-BE49-F238E27FC236}">
                  <a16:creationId xmlns:a16="http://schemas.microsoft.com/office/drawing/2014/main" id="{2406CEAF-7399-4CCB-A322-03F0BA2532F5}"/>
                </a:ext>
              </a:extLst>
            </p:cNvPr>
            <p:cNvSpPr/>
            <p:nvPr/>
          </p:nvSpPr>
          <p:spPr>
            <a:xfrm>
              <a:off x="731837" y="6507088"/>
              <a:ext cx="417960" cy="157638"/>
            </a:xfrm>
            <a:custGeom>
              <a:avLst/>
              <a:gdLst>
                <a:gd name="connsiteX0" fmla="*/ 368612 w 417960"/>
                <a:gd name="connsiteY0" fmla="*/ 0 h 157638"/>
                <a:gd name="connsiteX1" fmla="*/ 356151 w 417960"/>
                <a:gd name="connsiteY1" fmla="*/ 61062 h 157638"/>
                <a:gd name="connsiteX2" fmla="*/ 320760 w 417960"/>
                <a:gd name="connsiteY2" fmla="*/ 61062 h 157638"/>
                <a:gd name="connsiteX3" fmla="*/ 333222 w 417960"/>
                <a:gd name="connsiteY3" fmla="*/ 0 h 157638"/>
                <a:gd name="connsiteX4" fmla="*/ 31652 w 417960"/>
                <a:gd name="connsiteY4" fmla="*/ 0 h 157638"/>
                <a:gd name="connsiteX5" fmla="*/ 0 w 417960"/>
                <a:gd name="connsiteY5" fmla="*/ 157638 h 157638"/>
                <a:gd name="connsiteX6" fmla="*/ 120254 w 417960"/>
                <a:gd name="connsiteY6" fmla="*/ 157638 h 157638"/>
                <a:gd name="connsiteX7" fmla="*/ 128105 w 417960"/>
                <a:gd name="connsiteY7" fmla="*/ 118260 h 157638"/>
                <a:gd name="connsiteX8" fmla="*/ 57074 w 417960"/>
                <a:gd name="connsiteY8" fmla="*/ 118260 h 157638"/>
                <a:gd name="connsiteX9" fmla="*/ 61435 w 417960"/>
                <a:gd name="connsiteY9" fmla="*/ 96577 h 157638"/>
                <a:gd name="connsiteX10" fmla="*/ 132342 w 417960"/>
                <a:gd name="connsiteY10" fmla="*/ 96577 h 157638"/>
                <a:gd name="connsiteX11" fmla="*/ 139569 w 417960"/>
                <a:gd name="connsiteY11" fmla="*/ 61062 h 157638"/>
                <a:gd name="connsiteX12" fmla="*/ 68538 w 417960"/>
                <a:gd name="connsiteY12" fmla="*/ 61062 h 157638"/>
                <a:gd name="connsiteX13" fmla="*/ 72900 w 417960"/>
                <a:gd name="connsiteY13" fmla="*/ 39378 h 157638"/>
                <a:gd name="connsiteX14" fmla="*/ 185303 w 417960"/>
                <a:gd name="connsiteY14" fmla="*/ 39378 h 157638"/>
                <a:gd name="connsiteX15" fmla="*/ 161626 w 417960"/>
                <a:gd name="connsiteY15" fmla="*/ 157638 h 157638"/>
                <a:gd name="connsiteX16" fmla="*/ 210849 w 417960"/>
                <a:gd name="connsiteY16" fmla="*/ 157638 h 157638"/>
                <a:gd name="connsiteX17" fmla="*/ 234651 w 417960"/>
                <a:gd name="connsiteY17" fmla="*/ 39378 h 157638"/>
                <a:gd name="connsiteX18" fmla="*/ 276023 w 417960"/>
                <a:gd name="connsiteY18" fmla="*/ 39378 h 157638"/>
                <a:gd name="connsiteX19" fmla="*/ 252222 w 417960"/>
                <a:gd name="connsiteY19" fmla="*/ 157638 h 157638"/>
                <a:gd name="connsiteX20" fmla="*/ 301569 w 417960"/>
                <a:gd name="connsiteY20" fmla="*/ 157638 h 157638"/>
                <a:gd name="connsiteX21" fmla="*/ 313657 w 417960"/>
                <a:gd name="connsiteY21" fmla="*/ 96577 h 157638"/>
                <a:gd name="connsiteX22" fmla="*/ 349172 w 417960"/>
                <a:gd name="connsiteY22" fmla="*/ 96577 h 157638"/>
                <a:gd name="connsiteX23" fmla="*/ 336960 w 417960"/>
                <a:gd name="connsiteY23" fmla="*/ 157638 h 157638"/>
                <a:gd name="connsiteX24" fmla="*/ 386308 w 417960"/>
                <a:gd name="connsiteY24" fmla="*/ 157638 h 157638"/>
                <a:gd name="connsiteX25" fmla="*/ 417960 w 417960"/>
                <a:gd name="connsiteY25" fmla="*/ 0 h 157638"/>
                <a:gd name="connsiteX26" fmla="*/ 368612 w 417960"/>
                <a:gd name="connsiteY26" fmla="*/ 0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7960" h="157638">
                  <a:moveTo>
                    <a:pt x="368612" y="0"/>
                  </a:moveTo>
                  <a:lnTo>
                    <a:pt x="356151" y="61062"/>
                  </a:lnTo>
                  <a:lnTo>
                    <a:pt x="320760" y="61062"/>
                  </a:lnTo>
                  <a:lnTo>
                    <a:pt x="333222" y="0"/>
                  </a:lnTo>
                  <a:lnTo>
                    <a:pt x="31652" y="0"/>
                  </a:lnTo>
                  <a:lnTo>
                    <a:pt x="0" y="157638"/>
                  </a:lnTo>
                  <a:lnTo>
                    <a:pt x="120254" y="157638"/>
                  </a:lnTo>
                  <a:lnTo>
                    <a:pt x="128105" y="118260"/>
                  </a:lnTo>
                  <a:lnTo>
                    <a:pt x="57074" y="118260"/>
                  </a:lnTo>
                  <a:lnTo>
                    <a:pt x="61435" y="96577"/>
                  </a:lnTo>
                  <a:lnTo>
                    <a:pt x="132342" y="96577"/>
                  </a:lnTo>
                  <a:lnTo>
                    <a:pt x="139569" y="61062"/>
                  </a:lnTo>
                  <a:lnTo>
                    <a:pt x="68538" y="61062"/>
                  </a:lnTo>
                  <a:lnTo>
                    <a:pt x="72900" y="39378"/>
                  </a:lnTo>
                  <a:lnTo>
                    <a:pt x="185303" y="39378"/>
                  </a:lnTo>
                  <a:lnTo>
                    <a:pt x="161626" y="157638"/>
                  </a:lnTo>
                  <a:lnTo>
                    <a:pt x="210849" y="157638"/>
                  </a:lnTo>
                  <a:lnTo>
                    <a:pt x="234651" y="39378"/>
                  </a:lnTo>
                  <a:lnTo>
                    <a:pt x="276023" y="39378"/>
                  </a:lnTo>
                  <a:lnTo>
                    <a:pt x="252222" y="157638"/>
                  </a:lnTo>
                  <a:lnTo>
                    <a:pt x="301569" y="157638"/>
                  </a:lnTo>
                  <a:lnTo>
                    <a:pt x="313657" y="96577"/>
                  </a:lnTo>
                  <a:lnTo>
                    <a:pt x="349172" y="96577"/>
                  </a:lnTo>
                  <a:lnTo>
                    <a:pt x="336960" y="157638"/>
                  </a:lnTo>
                  <a:lnTo>
                    <a:pt x="386308" y="157638"/>
                  </a:lnTo>
                  <a:lnTo>
                    <a:pt x="417960" y="0"/>
                  </a:lnTo>
                  <a:lnTo>
                    <a:pt x="368612" y="0"/>
                  </a:lnTo>
                  <a:close/>
                </a:path>
              </a:pathLst>
            </a:custGeom>
            <a:grpFill/>
            <a:ln w="12419" cap="flat">
              <a:noFill/>
              <a:prstDash val="solid"/>
              <a:miter/>
            </a:ln>
          </p:spPr>
          <p:txBody>
            <a:bodyPr rtlCol="0" anchor="ctr"/>
            <a:lstStyle/>
            <a:p>
              <a:pPr rtl="0"/>
              <a:endParaRPr lang="en-GB" noProof="0" dirty="0"/>
            </a:p>
          </p:txBody>
        </p:sp>
      </p:grpSp>
    </p:spTree>
    <p:extLst>
      <p:ext uri="{BB962C8B-B14F-4D97-AF65-F5344CB8AC3E}">
        <p14:creationId xmlns:p14="http://schemas.microsoft.com/office/powerpoint/2010/main" val="3716835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709FE4-B19A-40E5-B994-8FBD3E2929F5}"/>
              </a:ext>
            </a:extLst>
          </p:cNvPr>
          <p:cNvGraphicFramePr>
            <a:graphicFrameLocks noChangeAspect="1"/>
          </p:cNvGraphicFramePr>
          <p:nvPr userDrawn="1">
            <p:custDataLst>
              <p:tags r:id="rId35"/>
            </p:custDataLst>
            <p:extLst>
              <p:ext uri="{D42A27DB-BD31-4B8C-83A1-F6EECF244321}">
                <p14:modId xmlns:p14="http://schemas.microsoft.com/office/powerpoint/2010/main" val="156824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95" imgH="396" progId="TCLayout.ActiveDocument.1">
                  <p:embed/>
                </p:oleObj>
              </mc:Choice>
              <mc:Fallback>
                <p:oleObj name="think-cell Slide" r:id="rId36" imgW="395" imgH="396" progId="TCLayout.ActiveDocument.1">
                  <p:embed/>
                  <p:pic>
                    <p:nvPicPr>
                      <p:cNvPr id="8" name="Object 7" hidden="1">
                        <a:extLst>
                          <a:ext uri="{FF2B5EF4-FFF2-40B4-BE49-F238E27FC236}">
                            <a16:creationId xmlns:a16="http://schemas.microsoft.com/office/drawing/2014/main" id="{6F709FE4-B19A-40E5-B994-8FBD3E2929F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9CEF804-E58C-481B-A606-7D35AF68FF55}"/>
              </a:ext>
            </a:extLst>
          </p:cNvPr>
          <p:cNvSpPr>
            <a:spLocks noGrp="1"/>
          </p:cNvSpPr>
          <p:nvPr>
            <p:ph type="title"/>
          </p:nvPr>
        </p:nvSpPr>
        <p:spPr>
          <a:xfrm>
            <a:off x="731837" y="260351"/>
            <a:ext cx="10728325" cy="900000"/>
          </a:xfrm>
          <a:prstGeom prst="rect">
            <a:avLst/>
          </a:prstGeom>
        </p:spPr>
        <p:txBody>
          <a:bodyPr vert="horz" lIns="0" tIns="0" rIns="0" bIns="0" rtlCol="0" anchor="t" anchorCtr="0">
            <a:noAutofit/>
          </a:bodyPr>
          <a:lstStyle/>
          <a:p>
            <a:r>
              <a:rPr lang="en-GB" noProof="0" dirty="0" err="1"/>
              <a:t>Mastertitelformat</a:t>
            </a:r>
            <a:r>
              <a:rPr lang="en-GB" noProof="0" dirty="0"/>
              <a:t> </a:t>
            </a:r>
            <a:r>
              <a:rPr lang="en-GB" noProof="0" dirty="0" err="1"/>
              <a:t>bearbeiten</a:t>
            </a:r>
            <a:endParaRPr lang="en-GB" noProof="0" dirty="0"/>
          </a:p>
        </p:txBody>
      </p:sp>
      <p:sp>
        <p:nvSpPr>
          <p:cNvPr id="3" name="Textplatzhalter 2">
            <a:extLst>
              <a:ext uri="{FF2B5EF4-FFF2-40B4-BE49-F238E27FC236}">
                <a16:creationId xmlns:a16="http://schemas.microsoft.com/office/drawing/2014/main" id="{65C6EC0D-393C-42F2-B6A7-B19C9B098F2D}"/>
              </a:ext>
            </a:extLst>
          </p:cNvPr>
          <p:cNvSpPr>
            <a:spLocks noGrp="1"/>
          </p:cNvSpPr>
          <p:nvPr>
            <p:ph type="body" idx="1"/>
          </p:nvPr>
        </p:nvSpPr>
        <p:spPr>
          <a:xfrm>
            <a:off x="731837" y="1412875"/>
            <a:ext cx="10728325" cy="4680000"/>
          </a:xfrm>
          <a:prstGeom prst="rect">
            <a:avLst/>
          </a:prstGeom>
        </p:spPr>
        <p:txBody>
          <a:bodyPr vert="horz" lIns="0" tIns="0" rIns="0" bIns="0" rtlCol="0">
            <a:noAutofit/>
          </a:bodyPr>
          <a:lstStyle/>
          <a:p>
            <a:pPr lvl="0"/>
            <a:r>
              <a:rPr lang="en-GB" noProof="0" dirty="0" err="1"/>
              <a:t>Mastertextformat</a:t>
            </a:r>
            <a:r>
              <a:rPr lang="en-GB" noProof="0" dirty="0"/>
              <a:t> </a:t>
            </a:r>
            <a:r>
              <a:rPr lang="en-GB" noProof="0" dirty="0" err="1"/>
              <a:t>bearbeiten</a:t>
            </a:r>
            <a:endParaRPr lang="en-GB" noProof="0" dirty="0"/>
          </a:p>
          <a:p>
            <a:pPr lvl="1"/>
            <a:r>
              <a:rPr lang="en-GB" noProof="0" dirty="0" err="1"/>
              <a:t>Zweite</a:t>
            </a:r>
            <a:r>
              <a:rPr lang="en-GB" noProof="0" dirty="0"/>
              <a:t> Ebene</a:t>
            </a:r>
          </a:p>
          <a:p>
            <a:pPr lvl="2"/>
            <a:r>
              <a:rPr lang="en-GB" noProof="0" dirty="0" err="1"/>
              <a:t>Dritte</a:t>
            </a:r>
            <a:r>
              <a:rPr lang="en-GB" noProof="0" dirty="0"/>
              <a:t> Ebene</a:t>
            </a:r>
          </a:p>
          <a:p>
            <a:pPr lvl="3"/>
            <a:r>
              <a:rPr lang="en-GB" noProof="0" dirty="0" err="1"/>
              <a:t>Vierte</a:t>
            </a:r>
            <a:r>
              <a:rPr lang="en-GB" noProof="0" dirty="0"/>
              <a:t> Ebene</a:t>
            </a:r>
          </a:p>
          <a:p>
            <a:pPr lvl="4"/>
            <a:r>
              <a:rPr lang="en-GB" noProof="0" dirty="0" err="1"/>
              <a:t>Fünfte</a:t>
            </a:r>
            <a:r>
              <a:rPr lang="en-GB" noProof="0" dirty="0"/>
              <a:t> Ebene</a:t>
            </a:r>
          </a:p>
        </p:txBody>
      </p:sp>
      <p:sp>
        <p:nvSpPr>
          <p:cNvPr id="4" name="Datumsplatzhalter 3">
            <a:extLst>
              <a:ext uri="{FF2B5EF4-FFF2-40B4-BE49-F238E27FC236}">
                <a16:creationId xmlns:a16="http://schemas.microsoft.com/office/drawing/2014/main" id="{37C96E51-36C9-4BEE-A761-33378A0DF03D}"/>
              </a:ext>
            </a:extLst>
          </p:cNvPr>
          <p:cNvSpPr>
            <a:spLocks noGrp="1"/>
          </p:cNvSpPr>
          <p:nvPr>
            <p:ph type="dt" sz="half" idx="2"/>
          </p:nvPr>
        </p:nvSpPr>
        <p:spPr>
          <a:xfrm>
            <a:off x="10473692" y="6522444"/>
            <a:ext cx="612000" cy="216000"/>
          </a:xfrm>
          <a:prstGeom prst="rect">
            <a:avLst/>
          </a:prstGeom>
        </p:spPr>
        <p:txBody>
          <a:bodyPr vert="horz" lIns="0" tIns="0" rIns="0" bIns="0" rtlCol="0" anchor="ctr"/>
          <a:lstStyle>
            <a:lvl1pPr algn="l" rtl="0">
              <a:defRPr sz="800">
                <a:solidFill>
                  <a:schemeClr val="tx1"/>
                </a:solidFill>
              </a:defRPr>
            </a:lvl1pPr>
          </a:lstStyle>
          <a:p>
            <a:fld id="{A2D8627A-F6BA-4C2F-9E05-2E3E16D3644D}" type="datetime1">
              <a:rPr lang="en-GB" smtClean="0"/>
              <a:pPr/>
              <a:t>29/02/2024</a:t>
            </a:fld>
            <a:endParaRPr lang="en-GB" dirty="0"/>
          </a:p>
        </p:txBody>
      </p:sp>
      <p:sp>
        <p:nvSpPr>
          <p:cNvPr id="5" name="Fußzeilenplatzhalter 4">
            <a:extLst>
              <a:ext uri="{FF2B5EF4-FFF2-40B4-BE49-F238E27FC236}">
                <a16:creationId xmlns:a16="http://schemas.microsoft.com/office/drawing/2014/main" id="{411EC403-6E63-4450-AFDD-66CA49D6CCBE}"/>
              </a:ext>
            </a:extLst>
          </p:cNvPr>
          <p:cNvSpPr>
            <a:spLocks noGrp="1"/>
          </p:cNvSpPr>
          <p:nvPr>
            <p:ph type="ftr" sz="quarter" idx="3"/>
          </p:nvPr>
        </p:nvSpPr>
        <p:spPr>
          <a:xfrm>
            <a:off x="2171700" y="6522444"/>
            <a:ext cx="5400000" cy="216000"/>
          </a:xfrm>
          <a:prstGeom prst="rect">
            <a:avLst/>
          </a:prstGeom>
        </p:spPr>
        <p:txBody>
          <a:bodyPr vert="horz" lIns="0" tIns="0" rIns="0" bIns="0" rtlCol="0" anchor="ctr"/>
          <a:lstStyle>
            <a:lvl1pPr algn="l" rtl="0">
              <a:defRPr sz="800">
                <a:solidFill>
                  <a:schemeClr val="tx1"/>
                </a:solidFill>
              </a:defRPr>
            </a:lvl1pPr>
          </a:lstStyle>
          <a:p>
            <a:r>
              <a:rPr lang="en-GB"/>
              <a:t>Developing a team consensus and shaping the future of work together</a:t>
            </a:r>
            <a:endParaRPr lang="en-GB" dirty="0"/>
          </a:p>
        </p:txBody>
      </p:sp>
      <p:sp>
        <p:nvSpPr>
          <p:cNvPr id="6" name="Foliennummernplatzhalter 5">
            <a:extLst>
              <a:ext uri="{FF2B5EF4-FFF2-40B4-BE49-F238E27FC236}">
                <a16:creationId xmlns:a16="http://schemas.microsoft.com/office/drawing/2014/main" id="{7FDFCC57-7DDC-4B2C-A6BE-862DAF9C9F11}"/>
              </a:ext>
            </a:extLst>
          </p:cNvPr>
          <p:cNvSpPr>
            <a:spLocks noGrp="1"/>
          </p:cNvSpPr>
          <p:nvPr>
            <p:ph type="sldNum" sz="quarter" idx="4"/>
          </p:nvPr>
        </p:nvSpPr>
        <p:spPr>
          <a:xfrm>
            <a:off x="11137585" y="6522444"/>
            <a:ext cx="322577" cy="216000"/>
          </a:xfrm>
          <a:prstGeom prst="rect">
            <a:avLst/>
          </a:prstGeom>
        </p:spPr>
        <p:txBody>
          <a:bodyPr vert="horz" lIns="0" tIns="0" rIns="0" bIns="0" rtlCol="0" anchor="ctr"/>
          <a:lstStyle>
            <a:lvl1pPr algn="r" rtl="0">
              <a:defRPr sz="800">
                <a:solidFill>
                  <a:schemeClr val="tx1"/>
                </a:solidFill>
              </a:defRPr>
            </a:lvl1pPr>
          </a:lstStyle>
          <a:p>
            <a:fld id="{5ACA52AF-F19D-405C-AD5F-7D94B96A5CC3}" type="slidenum">
              <a:rPr lang="en-GB" smtClean="0"/>
              <a:pPr/>
              <a:t>‹#›</a:t>
            </a:fld>
            <a:endParaRPr lang="en-GB" dirty="0"/>
          </a:p>
        </p:txBody>
      </p:sp>
    </p:spTree>
    <p:extLst>
      <p:ext uri="{BB962C8B-B14F-4D97-AF65-F5344CB8AC3E}">
        <p14:creationId xmlns:p14="http://schemas.microsoft.com/office/powerpoint/2010/main" val="40960627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0"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78" r:id="rId20"/>
    <p:sldLayoutId id="2147483679" r:id="rId21"/>
    <p:sldLayoutId id="2147483680" r:id="rId22"/>
    <p:sldLayoutId id="2147483681" r:id="rId23"/>
    <p:sldLayoutId id="2147483682" r:id="rId24"/>
    <p:sldLayoutId id="2147483668" r:id="rId25"/>
    <p:sldLayoutId id="2147483669" r:id="rId26"/>
    <p:sldLayoutId id="2147483670" r:id="rId27"/>
    <p:sldLayoutId id="2147483671" r:id="rId28"/>
    <p:sldLayoutId id="2147483672" r:id="rId29"/>
    <p:sldLayoutId id="2147483673" r:id="rId30"/>
    <p:sldLayoutId id="2147483674" r:id="rId31"/>
    <p:sldLayoutId id="2147483675" r:id="rId32"/>
    <p:sldLayoutId id="2147483676" r:id="rId33"/>
  </p:sldLayoutIdLst>
  <p:hf hdr="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270000" indent="-270000" algn="l" defTabSz="914400" rtl="0" eaLnBrk="1" latinLnBrk="0" hangingPunct="1">
        <a:lnSpc>
          <a:spcPct val="100000"/>
        </a:lnSpc>
        <a:spcBef>
          <a:spcPts val="1000"/>
        </a:spcBef>
        <a:buFont typeface="Arial" panose="020B0604020202020204" pitchFamily="34" charset="0"/>
        <a:buChar char="•"/>
        <a:defRPr sz="180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61">
          <p15:clr>
            <a:srgbClr val="F26B43"/>
          </p15:clr>
        </p15:guide>
        <p15:guide id="3" pos="7219">
          <p15:clr>
            <a:srgbClr val="F26B43"/>
          </p15:clr>
        </p15:guide>
        <p15:guide id="4" orient="horz" pos="164">
          <p15:clr>
            <a:srgbClr val="F26B43"/>
          </p15:clr>
        </p15:guide>
        <p15:guide id="5" orient="horz" pos="890">
          <p15:clr>
            <a:srgbClr val="F26B43"/>
          </p15:clr>
        </p15:guide>
        <p15:guide id="6" orient="horz" pos="4201">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hyperlink" Target="https://ethz.ch/staffnet/en/employment-and-work/international/arbeiten-im-internationalen-kontext.html" TargetMode="External"/><Relationship Id="rId5" Type="http://schemas.openxmlformats.org/officeDocument/2006/relationships/image" Target="../media/image2.emf"/><Relationship Id="rId4"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18.sv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44.bin"/><Relationship Id="rId9" Type="http://schemas.openxmlformats.org/officeDocument/2006/relationships/image" Target="../media/image20.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4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5.xml"/><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hyperlink" Target="http://tscheck.in/" TargetMode="External"/><Relationship Id="rId11" Type="http://schemas.openxmlformats.org/officeDocument/2006/relationships/image" Target="../media/image27.png"/><Relationship Id="rId5" Type="http://schemas.openxmlformats.org/officeDocument/2006/relationships/image" Target="../media/image2.emf"/><Relationship Id="rId10" Type="http://schemas.openxmlformats.org/officeDocument/2006/relationships/image" Target="../media/image26.png"/><Relationship Id="rId4" Type="http://schemas.openxmlformats.org/officeDocument/2006/relationships/oleObject" Target="../embeddings/oleObject48.bin"/><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hyperlink" Target="https://www.workshop-spiele.de/" TargetMode="External"/><Relationship Id="rId3" Type="http://schemas.openxmlformats.org/officeDocument/2006/relationships/notesSlide" Target="../notesSlides/notesSlide16.xml"/><Relationship Id="rId7" Type="http://schemas.openxmlformats.org/officeDocument/2006/relationships/hyperlink" Target="https://www.workshop-spiele.de/5-tools-fuer-online-warm-ups/tscheck-in-online-kennenlern-fragen-generator/" TargetMode="External"/><Relationship Id="rId12" Type="http://schemas.openxmlformats.org/officeDocument/2006/relationships/image" Target="../media/image27.png"/><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hyperlink" Target="http://tscheck.in/" TargetMode="External"/><Relationship Id="rId11" Type="http://schemas.openxmlformats.org/officeDocument/2006/relationships/image" Target="../media/image26.png"/><Relationship Id="rId5" Type="http://schemas.openxmlformats.org/officeDocument/2006/relationships/image" Target="../media/image2.emf"/><Relationship Id="rId10" Type="http://schemas.openxmlformats.org/officeDocument/2006/relationships/image" Target="../media/image25.png"/><Relationship Id="rId4" Type="http://schemas.openxmlformats.org/officeDocument/2006/relationships/oleObject" Target="../embeddings/oleObject49.bin"/><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51.xml"/><Relationship Id="rId5" Type="http://schemas.openxmlformats.org/officeDocument/2006/relationships/image" Target="../media/image2.emf"/><Relationship Id="rId4" Type="http://schemas.openxmlformats.org/officeDocument/2006/relationships/oleObject" Target="../embeddings/oleObject5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52.xml"/><Relationship Id="rId6" Type="http://schemas.openxmlformats.org/officeDocument/2006/relationships/image" Target="../media/image28.jpeg"/><Relationship Id="rId5" Type="http://schemas.openxmlformats.org/officeDocument/2006/relationships/image" Target="../media/image2.emf"/><Relationship Id="rId4" Type="http://schemas.openxmlformats.org/officeDocument/2006/relationships/oleObject" Target="../embeddings/oleObject5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5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5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56.xml"/><Relationship Id="rId5" Type="http://schemas.openxmlformats.org/officeDocument/2006/relationships/image" Target="../media/image2.emf"/><Relationship Id="rId4" Type="http://schemas.openxmlformats.org/officeDocument/2006/relationships/oleObject" Target="../embeddings/oleObject5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31.jpg"/><Relationship Id="rId5" Type="http://schemas.openxmlformats.org/officeDocument/2006/relationships/image" Target="../media/image2.emf"/><Relationship Id="rId4" Type="http://schemas.openxmlformats.org/officeDocument/2006/relationships/oleObject" Target="../embeddings/oleObject5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58.xml"/><Relationship Id="rId6" Type="http://schemas.openxmlformats.org/officeDocument/2006/relationships/hyperlink" Target="https://www.mentimeter.com/" TargetMode="External"/><Relationship Id="rId5" Type="http://schemas.openxmlformats.org/officeDocument/2006/relationships/image" Target="../media/image2.emf"/><Relationship Id="rId4" Type="http://schemas.openxmlformats.org/officeDocument/2006/relationships/oleObject" Target="../embeddings/oleObject5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59.xml"/><Relationship Id="rId6" Type="http://schemas.openxmlformats.org/officeDocument/2006/relationships/image" Target="../media/image32.png"/><Relationship Id="rId5" Type="http://schemas.openxmlformats.org/officeDocument/2006/relationships/image" Target="../media/image2.emf"/><Relationship Id="rId4" Type="http://schemas.openxmlformats.org/officeDocument/2006/relationships/oleObject" Target="../embeddings/oleObject58.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1.xml"/><Relationship Id="rId6" Type="http://schemas.openxmlformats.org/officeDocument/2006/relationships/image" Target="../media/image33.jpeg"/><Relationship Id="rId5" Type="http://schemas.openxmlformats.org/officeDocument/2006/relationships/image" Target="../media/image2.emf"/><Relationship Id="rId4" Type="http://schemas.openxmlformats.org/officeDocument/2006/relationships/oleObject" Target="../embeddings/oleObject6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63.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36.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64.xml"/><Relationship Id="rId5" Type="http://schemas.openxmlformats.org/officeDocument/2006/relationships/image" Target="../media/image2.emf"/><Relationship Id="rId4" Type="http://schemas.openxmlformats.org/officeDocument/2006/relationships/oleObject" Target="../embeddings/oleObject6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65.xml"/><Relationship Id="rId6" Type="http://schemas.openxmlformats.org/officeDocument/2006/relationships/image" Target="../media/image34.jpg"/><Relationship Id="rId5" Type="http://schemas.openxmlformats.org/officeDocument/2006/relationships/image" Target="../media/image2.emf"/><Relationship Id="rId4" Type="http://schemas.openxmlformats.org/officeDocument/2006/relationships/oleObject" Target="../embeddings/oleObject6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1.png"/><Relationship Id="rId12" Type="http://schemas.openxmlformats.org/officeDocument/2006/relationships/image" Target="../media/image15.png"/><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10.png"/><Relationship Id="rId11" Type="http://schemas.openxmlformats.org/officeDocument/2006/relationships/image" Target="../media/image14.png"/><Relationship Id="rId5" Type="http://schemas.openxmlformats.org/officeDocument/2006/relationships/image" Target="../media/image2.emf"/><Relationship Id="rId10" Type="http://schemas.openxmlformats.org/officeDocument/2006/relationships/hyperlink" Target="https://ethz.ch/content/dam/ethz/associates/services/Anstellung-Arbeiten/Rund_um_die_Anstellung/anstellung-und-arbeit/flexibles-arbeiten/future-of-work/FoW_Umfrage_2022_Auswertung_EN.pdf" TargetMode="External"/><Relationship Id="rId4" Type="http://schemas.openxmlformats.org/officeDocument/2006/relationships/oleObject" Target="../embeddings/oleObject37.bin"/><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4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4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72FE01-FDAF-E163-444D-9DE29DB2312E}"/>
              </a:ext>
            </a:extLst>
          </p:cNvPr>
          <p:cNvGraphicFramePr>
            <a:graphicFrameLocks noChangeAspect="1"/>
          </p:cNvGraphicFramePr>
          <p:nvPr>
            <p:custDataLst>
              <p:tags r:id="rId1"/>
            </p:custDataLst>
            <p:extLst>
              <p:ext uri="{D42A27DB-BD31-4B8C-83A1-F6EECF244321}">
                <p14:modId xmlns:p14="http://schemas.microsoft.com/office/powerpoint/2010/main" val="80588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372FE01-FDAF-E163-444D-9DE29DB231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E1F9D0C-A2DE-4320-86DB-E9507EE39331}"/>
              </a:ext>
            </a:extLst>
          </p:cNvPr>
          <p:cNvPicPr>
            <a:picLocks noChangeAspect="1"/>
          </p:cNvPicPr>
          <p:nvPr/>
        </p:nvPicPr>
        <p:blipFill>
          <a:blip r:embed="rId6"/>
          <a:stretch>
            <a:fillRect/>
          </a:stretch>
        </p:blipFill>
        <p:spPr>
          <a:xfrm>
            <a:off x="731837" y="983725"/>
            <a:ext cx="10728326" cy="5332867"/>
          </a:xfrm>
          <a:prstGeom prst="rect">
            <a:avLst/>
          </a:prstGeom>
        </p:spPr>
      </p:pic>
      <p:sp>
        <p:nvSpPr>
          <p:cNvPr id="8" name="Titel 2">
            <a:extLst>
              <a:ext uri="{FF2B5EF4-FFF2-40B4-BE49-F238E27FC236}">
                <a16:creationId xmlns:a16="http://schemas.microsoft.com/office/drawing/2014/main" id="{AC1FB292-90C1-439C-8480-EB4116CF2374}"/>
              </a:ext>
            </a:extLst>
          </p:cNvPr>
          <p:cNvSpPr txBox="1">
            <a:spLocks/>
          </p:cNvSpPr>
          <p:nvPr/>
        </p:nvSpPr>
        <p:spPr>
          <a:xfrm>
            <a:off x="0" y="3488551"/>
            <a:ext cx="5765800" cy="2389736"/>
          </a:xfrm>
          <a:prstGeom prst="rect">
            <a:avLst/>
          </a:prstGeom>
          <a:solidFill>
            <a:schemeClr val="accent3"/>
          </a:solidFill>
          <a:ln>
            <a:solidFill>
              <a:schemeClr val="accent3"/>
            </a:solidFill>
          </a:ln>
        </p:spPr>
        <p:txBody>
          <a:bodyPr vert="horz" lIns="1080000" tIns="252000" rIns="0" bIns="0" rtlCol="0" anchor="t" anchorCtr="0">
            <a:noAutofit/>
          </a:bodyPr>
          <a:lstStyle>
            <a:lvl1pPr algn="l" defTabSz="914400" rtl="0" eaLnBrk="1" latinLnBrk="0" hangingPunct="1">
              <a:lnSpc>
                <a:spcPct val="100000"/>
              </a:lnSpc>
              <a:spcBef>
                <a:spcPct val="0"/>
              </a:spcBef>
              <a:buNone/>
              <a:defRPr sz="3600" kern="1200">
                <a:solidFill>
                  <a:schemeClr val="bg1"/>
                </a:solidFill>
                <a:latin typeface="+mj-lt"/>
                <a:ea typeface="+mj-ea"/>
                <a:cs typeface="+mj-cs"/>
              </a:defRPr>
            </a:lvl1pPr>
          </a:lstStyle>
          <a:p>
            <a:pPr algn="l">
              <a:spcAft>
                <a:spcPts val="1200"/>
              </a:spcAft>
            </a:pPr>
            <a:r>
              <a:rPr lang="en-GB" sz="2800" b="0" i="0" u="none" baseline="0" dirty="0"/>
              <a:t>Developing a team consensus and shaping the future of work together</a:t>
            </a:r>
          </a:p>
          <a:p>
            <a:pPr>
              <a:spcAft>
                <a:spcPts val="1200"/>
              </a:spcAft>
            </a:pPr>
            <a:endParaRPr lang="en-GB" sz="1400" dirty="0">
              <a:cs typeface="Arial"/>
            </a:endParaRPr>
          </a:p>
          <a:p>
            <a:pPr>
              <a:spcAft>
                <a:spcPts val="1200"/>
              </a:spcAft>
            </a:pPr>
            <a:r>
              <a:rPr lang="en-GB" sz="1400" dirty="0">
                <a:cs typeface="Arial"/>
              </a:rPr>
              <a:t>February 2023</a:t>
            </a:r>
            <a:endParaRPr lang="en-GB" dirty="0"/>
          </a:p>
        </p:txBody>
      </p:sp>
      <p:sp>
        <p:nvSpPr>
          <p:cNvPr id="4" name="Text Placeholder 5">
            <a:extLst>
              <a:ext uri="{FF2B5EF4-FFF2-40B4-BE49-F238E27FC236}">
                <a16:creationId xmlns:a16="http://schemas.microsoft.com/office/drawing/2014/main" id="{1C64F35D-60B1-47E8-8AA1-15FBD62E6694}"/>
              </a:ext>
            </a:extLst>
          </p:cNvPr>
          <p:cNvSpPr txBox="1">
            <a:spLocks/>
          </p:cNvSpPr>
          <p:nvPr/>
        </p:nvSpPr>
        <p:spPr>
          <a:xfrm>
            <a:off x="9696449" y="316800"/>
            <a:ext cx="180000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15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b="0" i="0" u="none" baseline="0" dirty="0"/>
              <a:t>VPPL</a:t>
            </a:r>
          </a:p>
        </p:txBody>
      </p:sp>
    </p:spTree>
    <p:extLst>
      <p:ext uri="{BB962C8B-B14F-4D97-AF65-F5344CB8AC3E}">
        <p14:creationId xmlns:p14="http://schemas.microsoft.com/office/powerpoint/2010/main" val="3233872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00C09A-BEC2-F04F-B75E-1370CB4A0336}"/>
              </a:ext>
            </a:extLst>
          </p:cNvPr>
          <p:cNvGraphicFramePr>
            <a:graphicFrameLocks noChangeAspect="1"/>
          </p:cNvGraphicFramePr>
          <p:nvPr>
            <p:custDataLst>
              <p:tags r:id="rId1"/>
            </p:custDataLst>
            <p:extLst>
              <p:ext uri="{D42A27DB-BD31-4B8C-83A1-F6EECF244321}">
                <p14:modId xmlns:p14="http://schemas.microsoft.com/office/powerpoint/2010/main" val="80404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8900C09A-BEC2-F04F-B75E-1370CB4A0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en-GB" b="0" i="0" u="none" baseline="0" dirty="0"/>
              <a:t>Basic principles on working remotely</a:t>
            </a:r>
            <a:br>
              <a:rPr lang="en-GB" dirty="0"/>
            </a:br>
            <a:endParaRPr lang="en-GB" sz="2000" b="0" i="0" u="none" baseline="0" dirty="0"/>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a:xfrm>
            <a:off x="764682" y="1189530"/>
            <a:ext cx="10905687" cy="4680000"/>
          </a:xfrm>
        </p:spPr>
        <p:txBody>
          <a:bodyPr vert="horz" lIns="0" tIns="0" rIns="0" bIns="0" rtlCol="0" anchor="t">
            <a:noAutofit/>
          </a:bodyPr>
          <a:lstStyle/>
          <a:p>
            <a:pPr marL="285750" indent="-285750" algn="l">
              <a:buFont typeface="Arial" panose="020B0604020202020204" pitchFamily="34" charset="0"/>
              <a:buChar char="•"/>
            </a:pPr>
            <a:r>
              <a:rPr lang="en-GB" sz="1600" b="0" i="0" u="none" baseline="0" dirty="0"/>
              <a:t>Working from home is based on trust and requires employees to exercise a high degree of personal responsibility since they are performing job-related tasks in a private environment.</a:t>
            </a:r>
          </a:p>
          <a:p>
            <a:pPr marL="285750" indent="-285750" algn="l">
              <a:buFont typeface="Arial" panose="020B0604020202020204" pitchFamily="34" charset="0"/>
              <a:buChar char="•"/>
            </a:pPr>
            <a:r>
              <a:rPr lang="en-GB" sz="1600" b="0" i="0" u="none" baseline="0" dirty="0"/>
              <a:t>Working from home means that ETH employees work from their own home regularly or occasionally but with no change to their contractually agreed workplace.</a:t>
            </a:r>
          </a:p>
          <a:p>
            <a:pPr marL="285750" indent="-285750" algn="l">
              <a:buFont typeface="Arial" panose="020B0604020202020204" pitchFamily="34" charset="0"/>
              <a:buChar char="•"/>
            </a:pPr>
            <a:r>
              <a:rPr lang="en-US" sz="1600" b="0" i="0" u="none" baseline="0" dirty="0"/>
              <a:t>As a rule, there is nothing prohibiting ETH employees who live and work in Switzerland to work remotely. This generally applies to all kinds of employment contracts and of course only as long as operations permit it</a:t>
            </a:r>
            <a:r>
              <a:rPr lang="en-GB" sz="1600" b="0" i="0" u="none" baseline="0" dirty="0"/>
              <a:t>. The situation may be different for </a:t>
            </a:r>
            <a:r>
              <a:rPr lang="en-GB" sz="1600" b="0" i="0" u="none" baseline="0" dirty="0">
                <a:hlinkClick r:id="rId6"/>
              </a:rPr>
              <a:t>cross-border commuters</a:t>
            </a:r>
            <a:r>
              <a:rPr lang="en-GB" sz="1600" b="0" i="0" u="none" baseline="0" dirty="0"/>
              <a:t>.</a:t>
            </a:r>
          </a:p>
          <a:p>
            <a:pPr marL="285750" indent="-285750" algn="l">
              <a:buFont typeface="Arial" panose="020B0604020202020204" pitchFamily="34" charset="0"/>
              <a:buChar char="•"/>
            </a:pPr>
            <a:r>
              <a:rPr lang="en-GB" sz="1600" b="0" i="0" u="none" baseline="0" dirty="0"/>
              <a:t>There is no general entitlement to be allowed to work from home. Supervisors are responsible for making decisions about remote working arrangements.</a:t>
            </a:r>
          </a:p>
          <a:p>
            <a:pPr marL="285750" indent="-285750" algn="l">
              <a:buFont typeface="Arial" panose="020B0604020202020204" pitchFamily="34" charset="0"/>
              <a:buChar char="•"/>
            </a:pPr>
            <a:r>
              <a:rPr lang="en-GB" sz="1600" b="0" i="0" u="none" baseline="0" dirty="0"/>
              <a:t>The Executive Board of ETH Zurich would like supervisors to facilitate the option of working from home for their employees wherever this is feasible. Exclusive work-from-home arrangements (100% remote) are not desirable.</a:t>
            </a:r>
            <a:endParaRPr lang="en-GB" sz="1600" b="1" dirty="0">
              <a:cs typeface="Arial"/>
            </a:endParaRP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324563AE-4E98-46FA-859D-F757CBAE8CE6}"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en-GB" smtClean="0"/>
              <a:pPr algn="r"/>
              <a:t>10</a:t>
            </a:fld>
            <a:endParaRPr lang="en-GB" noProof="0" dirty="0"/>
          </a:p>
        </p:txBody>
      </p:sp>
      <p:sp>
        <p:nvSpPr>
          <p:cNvPr id="12" name="Rechteck 5">
            <a:extLst>
              <a:ext uri="{FF2B5EF4-FFF2-40B4-BE49-F238E27FC236}">
                <a16:creationId xmlns:a16="http://schemas.microsoft.com/office/drawing/2014/main" id="{B77F3B61-CF9E-0A76-1E14-43DB665C527A}"/>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282434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EE29B1-71E6-4C96-BE1D-B1770E8F62DA}"/>
              </a:ext>
            </a:extLst>
          </p:cNvPr>
          <p:cNvGraphicFramePr>
            <a:graphicFrameLocks noChangeAspect="1"/>
          </p:cNvGraphicFramePr>
          <p:nvPr>
            <p:custDataLst>
              <p:tags r:id="rId1"/>
            </p:custDataLst>
            <p:extLst>
              <p:ext uri="{D42A27DB-BD31-4B8C-83A1-F6EECF244321}">
                <p14:modId xmlns:p14="http://schemas.microsoft.com/office/powerpoint/2010/main" val="3325391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1EE29B1-71E6-4C96-BE1D-B1770E8F6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B5E241A7-3157-41BC-8F34-087641E61DF5}"/>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DE6B7EC3-82FC-4A06-A6C5-58D481E5B20D}" type="datetime1">
              <a:rPr kumimoji="0" lang="en-GB" sz="800" b="0" i="0" u="none" strike="noStrike" kern="1200" cap="none" spc="0" normalizeH="0" baseline="0" smtClean="0">
                <a:ln>
                  <a:noFill/>
                </a:ln>
                <a:solidFill>
                  <a:prstClr val="black"/>
                </a:solidFill>
                <a:effectLst/>
                <a:uLnTx/>
                <a:uFillTx/>
                <a:latin typeface="Arial" panose="020B0604020202020204"/>
                <a:ea typeface="+mn-ea"/>
                <a:cs typeface="+mn-cs"/>
              </a:rPr>
              <a:pPr marL="0" marR="0" lvl="0" indent="0" algn="l" defTabSz="914400" eaLnBrk="1" fontAlgn="auto" latinLnBrk="0" hangingPunct="1">
                <a:lnSpc>
                  <a:spcPct val="100000"/>
                </a:lnSpc>
                <a:spcBef>
                  <a:spcPts val="0"/>
                </a:spcBef>
                <a:spcAft>
                  <a:spcPts val="0"/>
                </a:spcAft>
                <a:buClrTx/>
                <a:buSzTx/>
                <a:buFontTx/>
                <a:buNone/>
                <a:tabLst/>
                <a:defRPr/>
              </a:pPr>
              <a:t>29/02/2024</a:t>
            </a:fld>
            <a:endParaRPr kumimoji="0" lang="en-GB"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 name="Foliennummernplatzhalter 5">
            <a:extLst>
              <a:ext uri="{FF2B5EF4-FFF2-40B4-BE49-F238E27FC236}">
                <a16:creationId xmlns:a16="http://schemas.microsoft.com/office/drawing/2014/main" id="{C3EB1F58-4C36-41B8-9CB6-6A2B034CA338}"/>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ACA52AF-F19D-405C-AD5F-7D94B96A5CC3}" type="slidenum">
              <a:rPr kumimoji="0" lang="en-GB" sz="800" b="0" i="0" u="none" strike="noStrike" kern="1200" cap="none" spc="0" normalizeH="0" baseline="0" smtClean="0">
                <a:ln>
                  <a:noFill/>
                </a:ln>
                <a:solidFill>
                  <a:prstClr val="black"/>
                </a:solidFill>
                <a:effectLst/>
                <a:uLnTx/>
                <a:uFillTx/>
                <a:latin typeface="Arial" panose="020B06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44D8210-A88F-4810-B940-4014074D88BF}"/>
              </a:ext>
            </a:extLst>
          </p:cNvPr>
          <p:cNvGrpSpPr/>
          <p:nvPr/>
        </p:nvGrpSpPr>
        <p:grpSpPr>
          <a:xfrm>
            <a:off x="731771" y="1332459"/>
            <a:ext cx="1180758" cy="1168988"/>
            <a:chOff x="731771" y="1332459"/>
            <a:chExt cx="1180758" cy="1168988"/>
          </a:xfrm>
        </p:grpSpPr>
        <p:sp>
          <p:nvSpPr>
            <p:cNvPr id="10" name="Oval 7">
              <a:extLst>
                <a:ext uri="{FF2B5EF4-FFF2-40B4-BE49-F238E27FC236}">
                  <a16:creationId xmlns:a16="http://schemas.microsoft.com/office/drawing/2014/main" id="{138B6753-7E47-4337-A6F5-5627C2C413FE}"/>
                </a:ext>
              </a:extLst>
            </p:cNvPr>
            <p:cNvSpPr/>
            <p:nvPr/>
          </p:nvSpPr>
          <p:spPr>
            <a:xfrm>
              <a:off x="731771" y="1332459"/>
              <a:ext cx="1180758" cy="11689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2" name="Graphic 30" descr="Bullseye outline">
              <a:extLst>
                <a:ext uri="{FF2B5EF4-FFF2-40B4-BE49-F238E27FC236}">
                  <a16:creationId xmlns:a16="http://schemas.microsoft.com/office/drawing/2014/main" id="{9E3EC575-CB3E-46FD-88AC-583E8090BE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460" y="1452874"/>
              <a:ext cx="914400" cy="914400"/>
            </a:xfrm>
            <a:prstGeom prst="rect">
              <a:avLst/>
            </a:prstGeom>
          </p:spPr>
        </p:pic>
      </p:grpSp>
      <p:sp>
        <p:nvSpPr>
          <p:cNvPr id="14" name="Oval 9">
            <a:extLst>
              <a:ext uri="{FF2B5EF4-FFF2-40B4-BE49-F238E27FC236}">
                <a16:creationId xmlns:a16="http://schemas.microsoft.com/office/drawing/2014/main" id="{561B912D-C211-4E3C-BB22-7EFACE7DA23D}"/>
              </a:ext>
            </a:extLst>
          </p:cNvPr>
          <p:cNvSpPr/>
          <p:nvPr/>
        </p:nvSpPr>
        <p:spPr>
          <a:xfrm>
            <a:off x="731771" y="2936701"/>
            <a:ext cx="1180758" cy="11689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6" name="Graphic 28" descr="Help outline">
            <a:extLst>
              <a:ext uri="{FF2B5EF4-FFF2-40B4-BE49-F238E27FC236}">
                <a16:creationId xmlns:a16="http://schemas.microsoft.com/office/drawing/2014/main" id="{68993CAD-01D3-49AC-922B-CF6918E3B8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4950" y="3060555"/>
            <a:ext cx="914400" cy="914400"/>
          </a:xfrm>
          <a:prstGeom prst="rect">
            <a:avLst/>
          </a:prstGeom>
        </p:spPr>
      </p:pic>
      <p:sp>
        <p:nvSpPr>
          <p:cNvPr id="18" name="Oval 8">
            <a:extLst>
              <a:ext uri="{FF2B5EF4-FFF2-40B4-BE49-F238E27FC236}">
                <a16:creationId xmlns:a16="http://schemas.microsoft.com/office/drawing/2014/main" id="{CD141509-65BB-4E73-9F6E-7D1C39894F21}"/>
              </a:ext>
            </a:extLst>
          </p:cNvPr>
          <p:cNvSpPr/>
          <p:nvPr/>
        </p:nvSpPr>
        <p:spPr>
          <a:xfrm>
            <a:off x="731771" y="4497693"/>
            <a:ext cx="1180758" cy="11689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20" name="Graphic 32" descr="Lightbulb outline">
            <a:extLst>
              <a:ext uri="{FF2B5EF4-FFF2-40B4-BE49-F238E27FC236}">
                <a16:creationId xmlns:a16="http://schemas.microsoft.com/office/drawing/2014/main" id="{8D7E286F-D8F6-4351-A36B-AFE55DB2E4B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4950" y="4624987"/>
            <a:ext cx="914400" cy="914400"/>
          </a:xfrm>
          <a:prstGeom prst="rect">
            <a:avLst/>
          </a:prstGeom>
        </p:spPr>
      </p:pic>
      <p:sp>
        <p:nvSpPr>
          <p:cNvPr id="37" name="TextBox 14">
            <a:extLst>
              <a:ext uri="{FF2B5EF4-FFF2-40B4-BE49-F238E27FC236}">
                <a16:creationId xmlns:a16="http://schemas.microsoft.com/office/drawing/2014/main" id="{166FA689-72C3-40C8-B811-164178E71FB6}"/>
              </a:ext>
            </a:extLst>
          </p:cNvPr>
          <p:cNvSpPr txBox="1"/>
          <p:nvPr/>
        </p:nvSpPr>
        <p:spPr>
          <a:xfrm>
            <a:off x="2210777" y="1410280"/>
            <a:ext cx="9249385" cy="4344779"/>
          </a:xfrm>
          <a:prstGeom prst="rect">
            <a:avLst/>
          </a:prstGeom>
          <a:noFill/>
        </p:spPr>
        <p:txBody>
          <a:bodyPr wrap="square" lIns="91440" tIns="0" rIns="91440" bIns="45720" rtlCol="0" anchor="t">
            <a:spAutoFit/>
          </a:bodyPr>
          <a:lstStyle/>
          <a:p>
            <a:pPr algn="l">
              <a:spcAft>
                <a:spcPts val="400"/>
              </a:spcAft>
            </a:pPr>
            <a:r>
              <a:rPr kumimoji="0" lang="en-GB" sz="1600" b="1" i="0" u="none" strike="noStrike" kern="1200" cap="none" spc="-15" normalizeH="0" baseline="0" dirty="0">
                <a:ln>
                  <a:noFill/>
                </a:ln>
                <a:solidFill>
                  <a:srgbClr val="000000"/>
                </a:solidFill>
                <a:effectLst/>
                <a:uLnTx/>
                <a:uFillTx/>
                <a:latin typeface="Arial" panose="020B0604020202020204"/>
                <a:ea typeface="+mn-ea"/>
                <a:cs typeface="Poppins"/>
              </a:rPr>
              <a:t>Why?</a:t>
            </a:r>
          </a:p>
          <a:p>
            <a:pPr algn="l">
              <a:spcAft>
                <a:spcPts val="400"/>
              </a:spcAft>
            </a:pP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The evolving work landscape, influenced by factors such as digital infrastructure expansion, space limitations, and the pandemic's effects on remote work, demands effective communication. This is essential for teams and leaders to reach a consensus and define a path that suits their specific requirements and objectives.</a:t>
            </a:r>
          </a:p>
          <a:p>
            <a:pPr algn="l">
              <a:spcAft>
                <a:spcPts val="400"/>
              </a:spcAft>
            </a:pPr>
            <a:endParaRPr kumimoji="0" lang="en-GB" sz="1600" b="1" i="0" u="none" strike="noStrike" kern="1200" cap="none" spc="-15" normalizeH="0" baseline="0" dirty="0">
              <a:ln>
                <a:noFill/>
              </a:ln>
              <a:solidFill>
                <a:srgbClr val="000000"/>
              </a:solidFill>
              <a:effectLst/>
              <a:uLnTx/>
              <a:uFillTx/>
              <a:latin typeface="Arial" panose="020B0604020202020204"/>
              <a:ea typeface="+mn-ea"/>
              <a:cs typeface="Poppins"/>
            </a:endParaRPr>
          </a:p>
          <a:p>
            <a:pPr algn="l">
              <a:spcAft>
                <a:spcPts val="400"/>
              </a:spcAft>
            </a:pPr>
            <a:r>
              <a:rPr kumimoji="0" lang="en-GB" sz="1600" b="1" i="0" u="none" strike="noStrike" kern="1200" cap="none" spc="-15" normalizeH="0" baseline="0" dirty="0">
                <a:ln>
                  <a:noFill/>
                </a:ln>
                <a:solidFill>
                  <a:srgbClr val="000000"/>
                </a:solidFill>
                <a:effectLst/>
                <a:uLnTx/>
                <a:uFillTx/>
                <a:latin typeface="Arial" panose="020B0604020202020204"/>
                <a:ea typeface="+mn-ea"/>
                <a:cs typeface="Poppins"/>
              </a:rPr>
              <a:t>What to expect:</a:t>
            </a:r>
          </a:p>
          <a:p>
            <a:pPr algn="l">
              <a:spcAft>
                <a:spcPts val="400"/>
              </a:spcAft>
            </a:pP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This team workshop will help us design our hybrid work environment collaboratively. We'll address </a:t>
            </a:r>
            <a:r>
              <a:rPr lang="en-GB" sz="1600" spc="-15" dirty="0">
                <a:solidFill>
                  <a:srgbClr val="000000"/>
                </a:solidFill>
                <a:latin typeface="Arial" panose="020B0604020202020204"/>
                <a:cs typeface="Poppins"/>
              </a:rPr>
              <a:t>c</a:t>
            </a: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ollaboration, goal </a:t>
            </a:r>
            <a:r>
              <a:rPr lang="en-GB" sz="1600" spc="-15" dirty="0">
                <a:solidFill>
                  <a:srgbClr val="000000"/>
                </a:solidFill>
                <a:latin typeface="Arial" panose="020B0604020202020204"/>
                <a:cs typeface="Poppins"/>
              </a:rPr>
              <a:t>a</a:t>
            </a: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chievement, and team </a:t>
            </a:r>
            <a:r>
              <a:rPr lang="en-GB" sz="1600" spc="-15" dirty="0">
                <a:solidFill>
                  <a:srgbClr val="000000"/>
                </a:solidFill>
                <a:latin typeface="Arial" panose="020B0604020202020204"/>
                <a:cs typeface="Poppins"/>
              </a:rPr>
              <a:t>c</a:t>
            </a: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ohesion &amp; well-being, aiming for improved communication and balanced on-site and remote work in line with individual and team goals.</a:t>
            </a:r>
          </a:p>
          <a:p>
            <a:pPr algn="l">
              <a:spcAft>
                <a:spcPts val="400"/>
              </a:spcAft>
            </a:pPr>
            <a:endParaRPr kumimoji="0" lang="en-GB" sz="1600" b="1" i="0" u="none" strike="noStrike" kern="1200" cap="none" spc="-15" normalizeH="0" baseline="0" dirty="0">
              <a:ln>
                <a:noFill/>
              </a:ln>
              <a:solidFill>
                <a:srgbClr val="000000"/>
              </a:solidFill>
              <a:effectLst/>
              <a:uLnTx/>
              <a:uFillTx/>
              <a:latin typeface="Arial" panose="020B0604020202020204"/>
              <a:ea typeface="+mn-ea"/>
              <a:cs typeface="Poppins"/>
            </a:endParaRPr>
          </a:p>
          <a:p>
            <a:pPr algn="l">
              <a:spcAft>
                <a:spcPts val="400"/>
              </a:spcAft>
            </a:pPr>
            <a:r>
              <a:rPr kumimoji="0" lang="en-GB" sz="1600" b="1" i="0" u="none" strike="noStrike" kern="1200" cap="none" spc="-15" normalizeH="0" baseline="0" dirty="0">
                <a:ln>
                  <a:noFill/>
                </a:ln>
                <a:solidFill>
                  <a:srgbClr val="000000"/>
                </a:solidFill>
                <a:effectLst/>
                <a:uLnTx/>
                <a:uFillTx/>
                <a:latin typeface="Arial" panose="020B0604020202020204"/>
                <a:ea typeface="+mn-ea"/>
                <a:cs typeface="Poppins"/>
              </a:rPr>
              <a:t>How It works:</a:t>
            </a:r>
          </a:p>
          <a:p>
            <a:pPr algn="l">
              <a:spcAft>
                <a:spcPts val="400"/>
              </a:spcAft>
            </a:pPr>
            <a:r>
              <a:rPr kumimoji="0" lang="en-GB" sz="1600" i="0" u="none" strike="noStrike" kern="1200" cap="none" spc="-15" normalizeH="0" baseline="0" dirty="0">
                <a:ln>
                  <a:noFill/>
                </a:ln>
                <a:solidFill>
                  <a:srgbClr val="000000"/>
                </a:solidFill>
                <a:effectLst/>
                <a:uLnTx/>
                <a:uFillTx/>
                <a:latin typeface="Arial" panose="020B0604020202020204"/>
                <a:ea typeface="+mn-ea"/>
                <a:cs typeface="Poppins"/>
              </a:rPr>
              <a:t>Take part in this workshop to collectively shape your future ways of working. With the evolving hybrid work landscape, emphasis on well-being, and the demand for innovation and agility, our goal is to create a work culture that harmonizes with these priorities. Engage in discussions, share insights, and collaborate on strategies to ensure a dynamic and successful future for your teamwork.</a:t>
            </a:r>
            <a:endParaRPr kumimoji="0" lang="en-GB" sz="160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7" name="Titel 6">
            <a:extLst>
              <a:ext uri="{FF2B5EF4-FFF2-40B4-BE49-F238E27FC236}">
                <a16:creationId xmlns:a16="http://schemas.microsoft.com/office/drawing/2014/main" id="{6DAAECCB-C308-43C7-82C6-BAB1F3827081}"/>
              </a:ext>
            </a:extLst>
          </p:cNvPr>
          <p:cNvSpPr>
            <a:spLocks noGrp="1"/>
          </p:cNvSpPr>
          <p:nvPr>
            <p:ph type="title"/>
          </p:nvPr>
        </p:nvSpPr>
        <p:spPr/>
        <p:txBody>
          <a:bodyPr vert="horz"/>
          <a:lstStyle/>
          <a:p>
            <a:pPr algn="l"/>
            <a:r>
              <a:rPr lang="en-GB" b="0" i="0" u="none" baseline="0" dirty="0"/>
              <a:t>Developing a team consensus</a:t>
            </a:r>
            <a:endParaRPr lang="en-GB" dirty="0"/>
          </a:p>
        </p:txBody>
      </p:sp>
      <p:sp>
        <p:nvSpPr>
          <p:cNvPr id="21" name="Rechteck 5">
            <a:extLst>
              <a:ext uri="{FF2B5EF4-FFF2-40B4-BE49-F238E27FC236}">
                <a16:creationId xmlns:a16="http://schemas.microsoft.com/office/drawing/2014/main" id="{189F72B7-0371-E235-F696-891E2B3B8EAA}"/>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
        <p:nvSpPr>
          <p:cNvPr id="22" name="Fußzeilenplatzhalter 4">
            <a:extLst>
              <a:ext uri="{FF2B5EF4-FFF2-40B4-BE49-F238E27FC236}">
                <a16:creationId xmlns:a16="http://schemas.microsoft.com/office/drawing/2014/main" id="{CD6A7308-16BD-0457-C9AD-D60ED7C5E243}"/>
              </a:ext>
            </a:extLst>
          </p:cNvPr>
          <p:cNvSpPr>
            <a:spLocks noGrp="1"/>
          </p:cNvSpPr>
          <p:nvPr>
            <p:ph type="ftr" sz="quarter" idx="11"/>
          </p:nvPr>
        </p:nvSpPr>
        <p:spPr>
          <a:xfrm>
            <a:off x="2171700" y="6522444"/>
            <a:ext cx="5400000" cy="216000"/>
          </a:xfrm>
        </p:spPr>
        <p:txBody>
          <a:bodyPr/>
          <a:lstStyle/>
          <a:p>
            <a:pPr algn="l"/>
            <a:r>
              <a:rPr lang="en-GB" b="0" i="0" u="none" baseline="0"/>
              <a:t>Developing a team consensus and shaping the future of work together</a:t>
            </a:r>
            <a:endParaRPr lang="en-GB" b="0" i="0" u="none" baseline="0" dirty="0"/>
          </a:p>
        </p:txBody>
      </p:sp>
    </p:spTree>
    <p:extLst>
      <p:ext uri="{BB962C8B-B14F-4D97-AF65-F5344CB8AC3E}">
        <p14:creationId xmlns:p14="http://schemas.microsoft.com/office/powerpoint/2010/main" val="54911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5E4746-44C5-4447-25BC-7C75BCB67ADF}"/>
              </a:ext>
            </a:extLst>
          </p:cNvPr>
          <p:cNvGraphicFramePr>
            <a:graphicFrameLocks noChangeAspect="1"/>
          </p:cNvGraphicFramePr>
          <p:nvPr>
            <p:custDataLst>
              <p:tags r:id="rId1"/>
            </p:custDataLst>
            <p:extLst>
              <p:ext uri="{D42A27DB-BD31-4B8C-83A1-F6EECF244321}">
                <p14:modId xmlns:p14="http://schemas.microsoft.com/office/powerpoint/2010/main" val="168569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C5E4746-44C5-4447-25BC-7C75BCB67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t>Workshop run-down</a:t>
            </a:r>
          </a:p>
        </p:txBody>
      </p:sp>
      <p:sp>
        <p:nvSpPr>
          <p:cNvPr id="4" name="Datumsplatzhalter 3"/>
          <p:cNvSpPr>
            <a:spLocks noGrp="1"/>
          </p:cNvSpPr>
          <p:nvPr>
            <p:ph type="dt" sz="half" idx="10"/>
          </p:nvPr>
        </p:nvSpPr>
        <p:spPr/>
        <p:txBody>
          <a:bodyPr/>
          <a:lstStyle/>
          <a:p>
            <a:pPr algn="l"/>
            <a:fld id="{56C23E1E-69DB-4840-950B-04F603412772}" type="datetime1">
              <a:rPr lang="en-GB" smtClean="0"/>
              <a:pPr algn="l"/>
              <a:t>29/02/2024</a:t>
            </a:fld>
            <a:endParaRPr lang="en-GB" noProof="0" dirty="0"/>
          </a:p>
        </p:txBody>
      </p:sp>
      <p:sp>
        <p:nvSpPr>
          <p:cNvPr id="3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12</a:t>
            </a:fld>
            <a:endParaRPr lang="en-GB" noProof="0" dirty="0"/>
          </a:p>
        </p:txBody>
      </p:sp>
      <p:sp>
        <p:nvSpPr>
          <p:cNvPr id="47" name="Rechteck 46"/>
          <p:cNvSpPr/>
          <p:nvPr/>
        </p:nvSpPr>
        <p:spPr>
          <a:xfrm>
            <a:off x="731837" y="1272968"/>
            <a:ext cx="4482566" cy="4312064"/>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1" name="Gleichschenkliges Dreieck 10"/>
          <p:cNvSpPr/>
          <p:nvPr/>
        </p:nvSpPr>
        <p:spPr>
          <a:xfrm rot="10800000">
            <a:off x="2577446" y="3215580"/>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Gleichschenkliges Dreieck 50"/>
          <p:cNvSpPr/>
          <p:nvPr/>
        </p:nvSpPr>
        <p:spPr>
          <a:xfrm rot="10800000">
            <a:off x="2577446" y="4057302"/>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hteck 8"/>
          <p:cNvSpPr/>
          <p:nvPr/>
        </p:nvSpPr>
        <p:spPr>
          <a:xfrm>
            <a:off x="989348" y="2633577"/>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u="none" baseline="0"/>
              <a:t> Review - How have things been working out so far?</a:t>
            </a:r>
            <a:endParaRPr lang="en-GB" sz="1400" b="0" i="0" u="none" baseline="0" dirty="0"/>
          </a:p>
        </p:txBody>
      </p:sp>
      <p:sp>
        <p:nvSpPr>
          <p:cNvPr id="48" name="Rechteck 47"/>
          <p:cNvSpPr/>
          <p:nvPr/>
        </p:nvSpPr>
        <p:spPr>
          <a:xfrm>
            <a:off x="989348" y="3474952"/>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0" i="0" u="none" baseline="0">
                <a:latin typeface="Arial"/>
                <a:ea typeface="Arial"/>
                <a:cs typeface="Arial"/>
              </a:rPr>
              <a:t>Shaping the future - How would we like it to be?</a:t>
            </a:r>
            <a:endParaRPr lang="en-GB" sz="1400" b="0" i="0" u="none" baseline="0" dirty="0">
              <a:latin typeface="Arial"/>
              <a:ea typeface="Arial"/>
              <a:cs typeface="Arial"/>
            </a:endParaRPr>
          </a:p>
        </p:txBody>
      </p:sp>
      <p:sp>
        <p:nvSpPr>
          <p:cNvPr id="50" name="Rechteck 49"/>
          <p:cNvSpPr/>
          <p:nvPr/>
        </p:nvSpPr>
        <p:spPr>
          <a:xfrm>
            <a:off x="989348" y="4317261"/>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u="none" baseline="0"/>
              <a:t>Action - What are we going to do about it?</a:t>
            </a:r>
            <a:endParaRPr lang="en-GB" sz="1400" b="0" i="0" u="none" baseline="0" dirty="0"/>
          </a:p>
        </p:txBody>
      </p:sp>
      <p:sp>
        <p:nvSpPr>
          <p:cNvPr id="37" name="Gleichschenkliges Dreieck 36"/>
          <p:cNvSpPr/>
          <p:nvPr/>
        </p:nvSpPr>
        <p:spPr>
          <a:xfrm rot="10800000">
            <a:off x="2577446" y="2371030"/>
            <a:ext cx="684000" cy="252000"/>
          </a:xfrm>
          <a:prstGeom prst="triangle">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hteck 37"/>
          <p:cNvSpPr/>
          <p:nvPr/>
        </p:nvSpPr>
        <p:spPr>
          <a:xfrm>
            <a:off x="989348" y="1789027"/>
            <a:ext cx="3860196" cy="612000"/>
          </a:xfrm>
          <a:prstGeom prst="rect">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0" i="0" u="none" baseline="0" dirty="0"/>
              <a:t>Three perspectives</a:t>
            </a:r>
          </a:p>
        </p:txBody>
      </p:sp>
      <p:sp>
        <p:nvSpPr>
          <p:cNvPr id="8" name="Rechteck 7"/>
          <p:cNvSpPr/>
          <p:nvPr/>
        </p:nvSpPr>
        <p:spPr>
          <a:xfrm>
            <a:off x="788330" y="2399179"/>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1</a:t>
            </a:r>
          </a:p>
        </p:txBody>
      </p:sp>
      <p:sp>
        <p:nvSpPr>
          <p:cNvPr id="27" name="Rechteck 26"/>
          <p:cNvSpPr/>
          <p:nvPr/>
        </p:nvSpPr>
        <p:spPr>
          <a:xfrm>
            <a:off x="788330" y="3273953"/>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2</a:t>
            </a:r>
          </a:p>
        </p:txBody>
      </p:sp>
      <p:sp>
        <p:nvSpPr>
          <p:cNvPr id="28" name="Rechteck 27"/>
          <p:cNvSpPr/>
          <p:nvPr/>
        </p:nvSpPr>
        <p:spPr>
          <a:xfrm>
            <a:off x="788330" y="4109102"/>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3</a:t>
            </a:r>
          </a:p>
        </p:txBody>
      </p:sp>
      <p:sp>
        <p:nvSpPr>
          <p:cNvPr id="7" name="Rechteck 5">
            <a:extLst>
              <a:ext uri="{FF2B5EF4-FFF2-40B4-BE49-F238E27FC236}">
                <a16:creationId xmlns:a16="http://schemas.microsoft.com/office/drawing/2014/main" id="{7569C4AA-99FC-1B98-B5A8-E2E34D251296}"/>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
        <p:nvSpPr>
          <p:cNvPr id="10" name="Rechteck 46">
            <a:extLst>
              <a:ext uri="{FF2B5EF4-FFF2-40B4-BE49-F238E27FC236}">
                <a16:creationId xmlns:a16="http://schemas.microsoft.com/office/drawing/2014/main" id="{6F41AF3B-302E-E75F-BA20-A8FFB5A1C173}"/>
              </a:ext>
            </a:extLst>
          </p:cNvPr>
          <p:cNvSpPr/>
          <p:nvPr/>
        </p:nvSpPr>
        <p:spPr>
          <a:xfrm>
            <a:off x="6603126" y="1272968"/>
            <a:ext cx="4482566" cy="4312064"/>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3" name="Gleichschenkliges Dreieck 10">
            <a:extLst>
              <a:ext uri="{FF2B5EF4-FFF2-40B4-BE49-F238E27FC236}">
                <a16:creationId xmlns:a16="http://schemas.microsoft.com/office/drawing/2014/main" id="{A2DA63D0-DB52-889F-2F2B-517DEC88A825}"/>
              </a:ext>
            </a:extLst>
          </p:cNvPr>
          <p:cNvSpPr/>
          <p:nvPr/>
        </p:nvSpPr>
        <p:spPr>
          <a:xfrm rot="10800000">
            <a:off x="8448735" y="3215580"/>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Gleichschenkliges Dreieck 50">
            <a:extLst>
              <a:ext uri="{FF2B5EF4-FFF2-40B4-BE49-F238E27FC236}">
                <a16:creationId xmlns:a16="http://schemas.microsoft.com/office/drawing/2014/main" id="{377CF0BC-CB95-8F98-6CEB-5CFEF27F7257}"/>
              </a:ext>
            </a:extLst>
          </p:cNvPr>
          <p:cNvSpPr/>
          <p:nvPr/>
        </p:nvSpPr>
        <p:spPr>
          <a:xfrm rot="10800000">
            <a:off x="8448735" y="4057302"/>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hteck 8">
            <a:extLst>
              <a:ext uri="{FF2B5EF4-FFF2-40B4-BE49-F238E27FC236}">
                <a16:creationId xmlns:a16="http://schemas.microsoft.com/office/drawing/2014/main" id="{156683EB-D727-AEEC-79F5-8D0E4AB20A6B}"/>
              </a:ext>
            </a:extLst>
          </p:cNvPr>
          <p:cNvSpPr/>
          <p:nvPr/>
        </p:nvSpPr>
        <p:spPr>
          <a:xfrm>
            <a:off x="6860637" y="2633577"/>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u="none" baseline="0"/>
              <a:t> Collaboration</a:t>
            </a:r>
            <a:endParaRPr lang="en-GB" sz="1400" b="0" i="0" u="none" baseline="0" dirty="0"/>
          </a:p>
        </p:txBody>
      </p:sp>
      <p:sp>
        <p:nvSpPr>
          <p:cNvPr id="16" name="Rechteck 47">
            <a:extLst>
              <a:ext uri="{FF2B5EF4-FFF2-40B4-BE49-F238E27FC236}">
                <a16:creationId xmlns:a16="http://schemas.microsoft.com/office/drawing/2014/main" id="{FBA74DE1-7D88-9CC3-2F7B-6033EA6114E0}"/>
              </a:ext>
            </a:extLst>
          </p:cNvPr>
          <p:cNvSpPr/>
          <p:nvPr/>
        </p:nvSpPr>
        <p:spPr>
          <a:xfrm>
            <a:off x="6860637" y="3474952"/>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0" i="0" u="none" baseline="0">
                <a:latin typeface="Arial"/>
                <a:ea typeface="Arial"/>
                <a:cs typeface="Arial"/>
              </a:rPr>
              <a:t>Goal attainment</a:t>
            </a:r>
            <a:endParaRPr lang="en-GB" sz="1400" b="0" i="0" u="none" baseline="0" dirty="0">
              <a:latin typeface="Arial"/>
              <a:ea typeface="Arial"/>
              <a:cs typeface="Arial"/>
            </a:endParaRPr>
          </a:p>
        </p:txBody>
      </p:sp>
      <p:sp>
        <p:nvSpPr>
          <p:cNvPr id="17" name="Rechteck 49">
            <a:extLst>
              <a:ext uri="{FF2B5EF4-FFF2-40B4-BE49-F238E27FC236}">
                <a16:creationId xmlns:a16="http://schemas.microsoft.com/office/drawing/2014/main" id="{996C98F5-E864-5923-1607-1B96A5319F95}"/>
              </a:ext>
            </a:extLst>
          </p:cNvPr>
          <p:cNvSpPr/>
          <p:nvPr/>
        </p:nvSpPr>
        <p:spPr>
          <a:xfrm>
            <a:off x="6860637" y="4317261"/>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0" i="0" u="none" baseline="0"/>
              <a:t>Team cohesion and well-being</a:t>
            </a:r>
            <a:endParaRPr lang="en-GB" sz="1400" b="0" i="0" u="none" baseline="0" dirty="0"/>
          </a:p>
        </p:txBody>
      </p:sp>
      <p:sp>
        <p:nvSpPr>
          <p:cNvPr id="22" name="Gleichschenkliges Dreieck 36">
            <a:extLst>
              <a:ext uri="{FF2B5EF4-FFF2-40B4-BE49-F238E27FC236}">
                <a16:creationId xmlns:a16="http://schemas.microsoft.com/office/drawing/2014/main" id="{69BA734D-73D9-0E42-16FF-9A16E9A0AA7F}"/>
              </a:ext>
            </a:extLst>
          </p:cNvPr>
          <p:cNvSpPr/>
          <p:nvPr/>
        </p:nvSpPr>
        <p:spPr>
          <a:xfrm rot="10800000">
            <a:off x="8448735" y="2371030"/>
            <a:ext cx="684000" cy="252000"/>
          </a:xfrm>
          <a:prstGeom prst="triangle">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hteck 37">
            <a:extLst>
              <a:ext uri="{FF2B5EF4-FFF2-40B4-BE49-F238E27FC236}">
                <a16:creationId xmlns:a16="http://schemas.microsoft.com/office/drawing/2014/main" id="{04289C6E-1199-0B99-D163-4CD3620BC9E0}"/>
              </a:ext>
            </a:extLst>
          </p:cNvPr>
          <p:cNvSpPr/>
          <p:nvPr/>
        </p:nvSpPr>
        <p:spPr>
          <a:xfrm>
            <a:off x="6860637" y="1789027"/>
            <a:ext cx="3860196" cy="612000"/>
          </a:xfrm>
          <a:prstGeom prst="rect">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b="0" i="0" u="none" baseline="0" dirty="0"/>
              <a:t>Three topics</a:t>
            </a:r>
          </a:p>
        </p:txBody>
      </p:sp>
      <p:sp>
        <p:nvSpPr>
          <p:cNvPr id="31" name="Plus Sign 30">
            <a:extLst>
              <a:ext uri="{FF2B5EF4-FFF2-40B4-BE49-F238E27FC236}">
                <a16:creationId xmlns:a16="http://schemas.microsoft.com/office/drawing/2014/main" id="{90D245A3-6547-A8A7-9132-8A0860FFBF90}"/>
              </a:ext>
            </a:extLst>
          </p:cNvPr>
          <p:cNvSpPr/>
          <p:nvPr/>
        </p:nvSpPr>
        <p:spPr>
          <a:xfrm>
            <a:off x="5451564" y="2971800"/>
            <a:ext cx="914400" cy="914400"/>
          </a:xfrm>
          <a:prstGeom prst="mathPlus">
            <a:avLst/>
          </a:prstGeom>
          <a:solidFill>
            <a:srgbClr val="007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hteck 7">
            <a:extLst>
              <a:ext uri="{FF2B5EF4-FFF2-40B4-BE49-F238E27FC236}">
                <a16:creationId xmlns:a16="http://schemas.microsoft.com/office/drawing/2014/main" id="{282627BB-A3F0-27F3-9756-6AFD3AD87099}"/>
              </a:ext>
            </a:extLst>
          </p:cNvPr>
          <p:cNvSpPr/>
          <p:nvPr/>
        </p:nvSpPr>
        <p:spPr>
          <a:xfrm>
            <a:off x="6659734" y="2399179"/>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1</a:t>
            </a:r>
          </a:p>
        </p:txBody>
      </p:sp>
      <p:sp>
        <p:nvSpPr>
          <p:cNvPr id="34" name="Rechteck 26">
            <a:extLst>
              <a:ext uri="{FF2B5EF4-FFF2-40B4-BE49-F238E27FC236}">
                <a16:creationId xmlns:a16="http://schemas.microsoft.com/office/drawing/2014/main" id="{29B16004-A9CF-6D1F-3737-102F15FFE287}"/>
              </a:ext>
            </a:extLst>
          </p:cNvPr>
          <p:cNvSpPr/>
          <p:nvPr/>
        </p:nvSpPr>
        <p:spPr>
          <a:xfrm>
            <a:off x="6659734" y="3273953"/>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2</a:t>
            </a:r>
          </a:p>
        </p:txBody>
      </p:sp>
      <p:sp>
        <p:nvSpPr>
          <p:cNvPr id="35" name="Rechteck 27">
            <a:extLst>
              <a:ext uri="{FF2B5EF4-FFF2-40B4-BE49-F238E27FC236}">
                <a16:creationId xmlns:a16="http://schemas.microsoft.com/office/drawing/2014/main" id="{25414BE8-4E73-27A2-3FFA-CFBF3946F190}"/>
              </a:ext>
            </a:extLst>
          </p:cNvPr>
          <p:cNvSpPr/>
          <p:nvPr/>
        </p:nvSpPr>
        <p:spPr>
          <a:xfrm>
            <a:off x="6659734" y="4109102"/>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0" i="0" u="none" baseline="0" dirty="0">
                <a:solidFill>
                  <a:schemeClr val="tx1"/>
                </a:solidFill>
              </a:rPr>
              <a:t>3</a:t>
            </a:r>
          </a:p>
        </p:txBody>
      </p:sp>
    </p:spTree>
    <p:extLst>
      <p:ext uri="{BB962C8B-B14F-4D97-AF65-F5344CB8AC3E}">
        <p14:creationId xmlns:p14="http://schemas.microsoft.com/office/powerpoint/2010/main" val="2868296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1004676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572C3D62-4C44-4ED0-87A0-20F9403947C3}"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13</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266224068"/>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ollaboration</a:t>
                      </a: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Goal attainment</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Team cohesion and well being</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effectLst/>
                        </a:rPr>
                        <a:t>2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2354758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2B7F9C-4708-5E59-B06E-6196636E28CD}"/>
              </a:ext>
            </a:extLst>
          </p:cNvPr>
          <p:cNvGraphicFramePr>
            <a:graphicFrameLocks noChangeAspect="1"/>
          </p:cNvGraphicFramePr>
          <p:nvPr>
            <p:custDataLst>
              <p:tags r:id="rId1"/>
            </p:custDataLst>
            <p:extLst>
              <p:ext uri="{D42A27DB-BD31-4B8C-83A1-F6EECF244321}">
                <p14:modId xmlns:p14="http://schemas.microsoft.com/office/powerpoint/2010/main" val="3050288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52B7F9C-4708-5E59-B06E-6196636E28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7872D09B-1EDE-40A7-AA2C-FE8498C5648A}"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14</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1548381068"/>
              </p:ext>
            </p:extLst>
          </p:nvPr>
        </p:nvGraphicFramePr>
        <p:xfrm>
          <a:off x="731837" y="1412874"/>
          <a:ext cx="10728324" cy="4679998"/>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496991">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455575">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explanation of schedule</a:t>
                      </a:r>
                      <a:endParaRPr lang="en-GB" sz="1600" noProof="0" dirty="0">
                        <a:effectLst/>
                      </a:endParaRPr>
                    </a:p>
                  </a:txBody>
                  <a:tcPr marL="72000" marR="0" marT="0" marB="0" anchor="ctr"/>
                </a:tc>
                <a:extLst>
                  <a:ext uri="{0D108BD9-81ED-4DB2-BD59-A6C34878D82A}">
                    <a16:rowId xmlns:a16="http://schemas.microsoft.com/office/drawing/2014/main" val="4208406674"/>
                  </a:ext>
                </a:extLst>
              </a:tr>
              <a:tr h="455575">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solidFill>
                      <a:schemeClr val="accent6">
                        <a:lumMod val="20000"/>
                        <a:lumOff val="80000"/>
                      </a:schemeClr>
                    </a:solidFill>
                  </a:tcP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solidFill>
                      <a:schemeClr val="accent6">
                        <a:lumMod val="20000"/>
                        <a:lumOff val="80000"/>
                      </a:schemeClr>
                    </a:solidFill>
                  </a:tcPr>
                </a:tc>
                <a:extLst>
                  <a:ext uri="{0D108BD9-81ED-4DB2-BD59-A6C34878D82A}">
                    <a16:rowId xmlns:a16="http://schemas.microsoft.com/office/drawing/2014/main" val="2837530008"/>
                  </a:ext>
                </a:extLst>
              </a:tr>
              <a:tr h="496991">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Set the scope: “Return to the office” and future ways of working</a:t>
                      </a:r>
                    </a:p>
                  </a:txBody>
                  <a:tcPr marL="72000" marR="0" marT="0" marB="0" anchor="ctr"/>
                </a:tc>
                <a:extLst>
                  <a:ext uri="{0D108BD9-81ED-4DB2-BD59-A6C34878D82A}">
                    <a16:rowId xmlns:a16="http://schemas.microsoft.com/office/drawing/2014/main" val="503110164"/>
                  </a:ext>
                </a:extLst>
              </a:tr>
              <a:tr h="496991">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4265229918"/>
                  </a:ext>
                </a:extLst>
              </a:tr>
              <a:tr h="455575">
                <a:tc>
                  <a:txBody>
                    <a:bodyPr/>
                    <a:lstStyle/>
                    <a:p>
                      <a:pPr marL="0" algn="l" rtl="0" eaLnBrk="1" latinLnBrk="0" hangingPunct="1">
                        <a:spcBef>
                          <a:spcPts val="0"/>
                        </a:spcBef>
                        <a:spcAft>
                          <a:spcPts val="0"/>
                        </a:spcAft>
                      </a:pPr>
                      <a:r>
                        <a:rPr lang="en-GB" sz="1600" b="0" i="0" u="none" kern="1200" baseline="0" dirty="0">
                          <a:effectLst/>
                        </a:rPr>
                        <a:t>4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1st step: Review &amp; taking a look back</a:t>
                      </a:r>
                    </a:p>
                  </a:txBody>
                  <a:tcPr marL="72000" marR="0" marT="0" marB="0" anchor="ctr"/>
                </a:tc>
                <a:extLst>
                  <a:ext uri="{0D108BD9-81ED-4DB2-BD59-A6C34878D82A}">
                    <a16:rowId xmlns:a16="http://schemas.microsoft.com/office/drawing/2014/main" val="4278321526"/>
                  </a:ext>
                </a:extLst>
              </a:tr>
              <a:tr h="455575">
                <a:tc>
                  <a:txBody>
                    <a:bodyPr/>
                    <a:lstStyle/>
                    <a:p>
                      <a:pPr marL="0" algn="l" rtl="0" eaLnBrk="1" latinLnBrk="0" hangingPunct="1">
                        <a:spcBef>
                          <a:spcPts val="0"/>
                        </a:spcBef>
                        <a:spcAft>
                          <a:spcPts val="0"/>
                        </a:spcAft>
                      </a:pPr>
                      <a:r>
                        <a:rPr lang="en-GB" sz="1600" b="0" i="0" u="none" kern="1200" baseline="0" dirty="0">
                          <a:effectLst/>
                        </a:rPr>
                        <a:t>10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2nd step: Shaping the status quo</a:t>
                      </a:r>
                    </a:p>
                  </a:txBody>
                  <a:tcPr marL="72000" marR="0" marT="0" marB="0" anchor="ctr"/>
                </a:tc>
                <a:extLst>
                  <a:ext uri="{0D108BD9-81ED-4DB2-BD59-A6C34878D82A}">
                    <a16:rowId xmlns:a16="http://schemas.microsoft.com/office/drawing/2014/main" val="2902014262"/>
                  </a:ext>
                </a:extLst>
              </a:tr>
              <a:tr h="455575">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indent="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4183937973"/>
                  </a:ext>
                </a:extLst>
              </a:tr>
              <a:tr h="455575">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lvl="0" algn="l" rtl="0">
                        <a:spcBef>
                          <a:spcPts val="0"/>
                        </a:spcBef>
                        <a:spcAft>
                          <a:spcPts val="0"/>
                        </a:spcAft>
                        <a:buNone/>
                      </a:pPr>
                      <a:r>
                        <a:rPr lang="en-GB" sz="1600" b="0" i="0" u="none" kern="1200" baseline="0" dirty="0">
                          <a:effectLst/>
                        </a:rPr>
                        <a:t>3rd step: Outlook &amp; actions to take</a:t>
                      </a:r>
                    </a:p>
                  </a:txBody>
                  <a:tcPr marL="72000" marR="0" marT="0" marB="0" anchor="ctr"/>
                </a:tc>
                <a:extLst>
                  <a:ext uri="{0D108BD9-81ED-4DB2-BD59-A6C34878D82A}">
                    <a16:rowId xmlns:a16="http://schemas.microsoft.com/office/drawing/2014/main" val="3075414575"/>
                  </a:ext>
                </a:extLst>
              </a:tr>
              <a:tr h="455575">
                <a:tc>
                  <a:txBody>
                    <a:bodyPr/>
                    <a:lstStyle/>
                    <a:p>
                      <a:pPr marL="0" lvl="0" algn="l" rtl="0">
                        <a:spcBef>
                          <a:spcPts val="0"/>
                        </a:spcBef>
                        <a:spcAft>
                          <a:spcPts val="0"/>
                        </a:spcAft>
                        <a:buNone/>
                      </a:pPr>
                      <a:r>
                        <a:rPr lang="en-GB" sz="1600" b="0" i="0" u="none" kern="1200" baseline="0" dirty="0">
                          <a:effectLst/>
                        </a:rPr>
                        <a:t>1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C3F031D6-7BD2-412A-AA1B-F883BFF23D6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graphicFrame>
        <p:nvGraphicFramePr>
          <p:cNvPr id="7" name="Table 6">
            <a:extLst>
              <a:ext uri="{FF2B5EF4-FFF2-40B4-BE49-F238E27FC236}">
                <a16:creationId xmlns:a16="http://schemas.microsoft.com/office/drawing/2014/main" id="{E28215B8-1D8F-71F5-5163-55814B542277}"/>
              </a:ext>
            </a:extLst>
          </p:cNvPr>
          <p:cNvGraphicFramePr>
            <a:graphicFrameLocks noGrp="1"/>
          </p:cNvGraphicFramePr>
          <p:nvPr>
            <p:extLst>
              <p:ext uri="{D42A27DB-BD31-4B8C-83A1-F6EECF244321}">
                <p14:modId xmlns:p14="http://schemas.microsoft.com/office/powerpoint/2010/main" val="2743534152"/>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solidFill>
                            <a:schemeClr val="bg1"/>
                          </a:solidFill>
                          <a:effectLst/>
                        </a:rPr>
                        <a:t>20 minutes</a:t>
                      </a:r>
                      <a:endParaRPr lang="en-GB" sz="1600" noProof="0" dirty="0">
                        <a:solidFill>
                          <a:schemeClr val="bg1"/>
                        </a:solidFill>
                        <a:effectLst/>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en-GB" sz="1600" b="0" i="0" u="none" kern="1200" baseline="0" dirty="0">
                          <a:solidFill>
                            <a:schemeClr val="bg1"/>
                          </a:solidFill>
                          <a:effectLst/>
                        </a:rPr>
                        <a:t>Check-in</a:t>
                      </a:r>
                    </a:p>
                  </a:txBody>
                  <a:tcPr marL="72000" marR="0" marT="0" marB="0" anchor="ctr">
                    <a:solidFill>
                      <a:schemeClr val="accent2"/>
                    </a:solidFill>
                  </a:tcP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ollaboration</a:t>
                      </a: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Goal attainment</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Team cohesion and well being</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effectLst/>
                        </a:rPr>
                        <a:t>2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Tree>
    <p:extLst>
      <p:ext uri="{BB962C8B-B14F-4D97-AF65-F5344CB8AC3E}">
        <p14:creationId xmlns:p14="http://schemas.microsoft.com/office/powerpoint/2010/main" val="456252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C7040E-B05F-1FC8-1864-7EE431F9FC9E}"/>
              </a:ext>
            </a:extLst>
          </p:cNvPr>
          <p:cNvGraphicFramePr>
            <a:graphicFrameLocks noChangeAspect="1"/>
          </p:cNvGraphicFramePr>
          <p:nvPr>
            <p:custDataLst>
              <p:tags r:id="rId1"/>
            </p:custDataLst>
            <p:extLst>
              <p:ext uri="{D42A27DB-BD31-4B8C-83A1-F6EECF244321}">
                <p14:modId xmlns:p14="http://schemas.microsoft.com/office/powerpoint/2010/main" val="87991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99C7040E-B05F-1FC8-1864-7EE431F9FC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vert="horz"/>
          <a:lstStyle/>
          <a:p>
            <a:pPr algn="l"/>
            <a:r>
              <a:rPr lang="en-GB" b="0" i="0" u="none" baseline="0" dirty="0"/>
              <a:t>Check-in (example activity)</a:t>
            </a:r>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7" y="1412875"/>
            <a:ext cx="5364163" cy="4680000"/>
          </a:xfrm>
        </p:spPr>
        <p:txBody>
          <a:bodyPr vert="horz" lIns="0" tIns="0" rIns="0" bIns="0" rtlCol="0" anchor="t">
            <a:noAutofit/>
          </a:bodyPr>
          <a:lstStyle/>
          <a:p>
            <a:pPr marL="0" indent="0" algn="l">
              <a:buNone/>
            </a:pPr>
            <a:r>
              <a:rPr lang="en-GB" sz="1600" b="1" i="0" u="none" baseline="0" dirty="0"/>
              <a:t>Please share a few sentences with us! Sources of inspiration:</a:t>
            </a:r>
          </a:p>
          <a:p>
            <a:pPr marL="0" indent="0" algn="l">
              <a:buNone/>
            </a:pPr>
            <a:endParaRPr lang="en-GB" sz="1600" b="1" dirty="0"/>
          </a:p>
          <a:p>
            <a:pPr algn="l">
              <a:spcBef>
                <a:spcPts val="0"/>
              </a:spcBef>
              <a:spcAft>
                <a:spcPts val="600"/>
              </a:spcAft>
            </a:pPr>
            <a:r>
              <a:rPr lang="en-GB" sz="1600" b="0" i="0" u="none" baseline="0" dirty="0">
                <a:latin typeface="+mn-lt"/>
                <a:ea typeface="+mn-lt"/>
                <a:cs typeface="+mn-lt"/>
                <a:hlinkClick r:id="rId6"/>
              </a:rPr>
              <a:t>Tscheck.in (question generator)</a:t>
            </a:r>
            <a:r>
              <a:rPr lang="en-GB" sz="1600" b="0" i="0" u="none" baseline="0" dirty="0">
                <a:latin typeface="+mn-lt"/>
                <a:ea typeface="+mn-lt"/>
                <a:cs typeface="+mn-lt"/>
              </a:rPr>
              <a:t> – examples:</a:t>
            </a:r>
          </a:p>
          <a:p>
            <a:pPr algn="l">
              <a:spcBef>
                <a:spcPts val="0"/>
              </a:spcBef>
              <a:spcAft>
                <a:spcPts val="600"/>
              </a:spcAft>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pPr algn="l"/>
            <a:fld id="{88C71977-D290-430A-BCE2-9599A9D59D9C}" type="datetime1">
              <a:rPr lang="en-GB" smtClean="0"/>
              <a:pPr algn="l"/>
              <a:t>29/02/2024</a:t>
            </a:fld>
            <a:endParaRPr lang="en-GB" noProof="0" dirty="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dirty="0"/>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pPr algn="r"/>
            <a:fld id="{5ACA52AF-F19D-405C-AD5F-7D94B96A5CC3}" type="slidenum">
              <a:rPr lang="en-GB" smtClean="0"/>
              <a:pPr algn="r"/>
              <a:t>15</a:t>
            </a:fld>
            <a:endParaRPr lang="en-GB" noProof="0" dirty="0"/>
          </a:p>
        </p:txBody>
      </p:sp>
      <p:pic>
        <p:nvPicPr>
          <p:cNvPr id="8" name="Picture 7" descr="A picture containing mountain, water, sky, outdoors&#10;&#10;Description automatically generated">
            <a:extLst>
              <a:ext uri="{FF2B5EF4-FFF2-40B4-BE49-F238E27FC236}">
                <a16:creationId xmlns:a16="http://schemas.microsoft.com/office/drawing/2014/main" id="{A6706CC3-8947-4813-8BE0-CC4FF62607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93669" y="1160351"/>
            <a:ext cx="3866493" cy="5155324"/>
          </a:xfrm>
          <a:prstGeom prst="rect">
            <a:avLst/>
          </a:prstGeom>
        </p:spPr>
      </p:pic>
      <p:pic>
        <p:nvPicPr>
          <p:cNvPr id="10" name="Grafik 9">
            <a:extLst>
              <a:ext uri="{FF2B5EF4-FFF2-40B4-BE49-F238E27FC236}">
                <a16:creationId xmlns:a16="http://schemas.microsoft.com/office/drawing/2014/main" id="{6FE4055E-3E6B-4474-A2CE-18842F606BD5}"/>
              </a:ext>
            </a:extLst>
          </p:cNvPr>
          <p:cNvPicPr>
            <a:picLocks noChangeAspect="1"/>
          </p:cNvPicPr>
          <p:nvPr/>
        </p:nvPicPr>
        <p:blipFill>
          <a:blip r:embed="rId8"/>
          <a:stretch>
            <a:fillRect/>
          </a:stretch>
        </p:blipFill>
        <p:spPr>
          <a:xfrm>
            <a:off x="731836" y="2687583"/>
            <a:ext cx="2389735" cy="1413926"/>
          </a:xfrm>
          <a:prstGeom prst="rect">
            <a:avLst/>
          </a:prstGeom>
        </p:spPr>
      </p:pic>
      <p:pic>
        <p:nvPicPr>
          <p:cNvPr id="12" name="Grafik 11">
            <a:extLst>
              <a:ext uri="{FF2B5EF4-FFF2-40B4-BE49-F238E27FC236}">
                <a16:creationId xmlns:a16="http://schemas.microsoft.com/office/drawing/2014/main" id="{5F783A66-5A74-4E68-BBA5-8A956AE16DDB}"/>
              </a:ext>
            </a:extLst>
          </p:cNvPr>
          <p:cNvPicPr>
            <a:picLocks noChangeAspect="1"/>
          </p:cNvPicPr>
          <p:nvPr/>
        </p:nvPicPr>
        <p:blipFill>
          <a:blip r:embed="rId9"/>
          <a:stretch>
            <a:fillRect/>
          </a:stretch>
        </p:blipFill>
        <p:spPr>
          <a:xfrm>
            <a:off x="3258206" y="2687583"/>
            <a:ext cx="2344865" cy="1413926"/>
          </a:xfrm>
          <a:prstGeom prst="rect">
            <a:avLst/>
          </a:prstGeom>
        </p:spPr>
      </p:pic>
      <p:pic>
        <p:nvPicPr>
          <p:cNvPr id="14" name="Grafik 13">
            <a:extLst>
              <a:ext uri="{FF2B5EF4-FFF2-40B4-BE49-F238E27FC236}">
                <a16:creationId xmlns:a16="http://schemas.microsoft.com/office/drawing/2014/main" id="{DDDEC08A-4E6C-43B2-B5B1-AFE10744E31A}"/>
              </a:ext>
            </a:extLst>
          </p:cNvPr>
          <p:cNvPicPr>
            <a:picLocks noChangeAspect="1"/>
          </p:cNvPicPr>
          <p:nvPr/>
        </p:nvPicPr>
        <p:blipFill>
          <a:blip r:embed="rId10"/>
          <a:stretch>
            <a:fillRect/>
          </a:stretch>
        </p:blipFill>
        <p:spPr>
          <a:xfrm>
            <a:off x="3258207" y="4170417"/>
            <a:ext cx="2344865" cy="1342368"/>
          </a:xfrm>
          <a:prstGeom prst="rect">
            <a:avLst/>
          </a:prstGeom>
        </p:spPr>
      </p:pic>
      <p:pic>
        <p:nvPicPr>
          <p:cNvPr id="16" name="Grafik 15">
            <a:extLst>
              <a:ext uri="{FF2B5EF4-FFF2-40B4-BE49-F238E27FC236}">
                <a16:creationId xmlns:a16="http://schemas.microsoft.com/office/drawing/2014/main" id="{AB009935-8664-402E-BDCF-4E2253BCDD8F}"/>
              </a:ext>
            </a:extLst>
          </p:cNvPr>
          <p:cNvPicPr>
            <a:picLocks noChangeAspect="1"/>
          </p:cNvPicPr>
          <p:nvPr/>
        </p:nvPicPr>
        <p:blipFill>
          <a:blip r:embed="rId11"/>
          <a:stretch>
            <a:fillRect/>
          </a:stretch>
        </p:blipFill>
        <p:spPr>
          <a:xfrm>
            <a:off x="731837" y="4170417"/>
            <a:ext cx="2389735" cy="1342368"/>
          </a:xfrm>
          <a:prstGeom prst="rect">
            <a:avLst/>
          </a:prstGeom>
        </p:spPr>
      </p:pic>
      <p:sp>
        <p:nvSpPr>
          <p:cNvPr id="13" name="Rechteck 12">
            <a:extLst>
              <a:ext uri="{FF2B5EF4-FFF2-40B4-BE49-F238E27FC236}">
                <a16:creationId xmlns:a16="http://schemas.microsoft.com/office/drawing/2014/main" id="{53D2063C-9ED4-498A-AE70-37A043831FA0}"/>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3227777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FDC0E8DE-1F70-9615-CBCD-D5F5B6F88FCD}"/>
              </a:ext>
            </a:extLst>
          </p:cNvPr>
          <p:cNvGraphicFramePr>
            <a:graphicFrameLocks noChangeAspect="1"/>
          </p:cNvGraphicFramePr>
          <p:nvPr>
            <p:custDataLst>
              <p:tags r:id="rId1"/>
            </p:custDataLst>
            <p:extLst>
              <p:ext uri="{D42A27DB-BD31-4B8C-83A1-F6EECF244321}">
                <p14:modId xmlns:p14="http://schemas.microsoft.com/office/powerpoint/2010/main" val="229840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5" name="Object 14" hidden="1">
                        <a:extLst>
                          <a:ext uri="{FF2B5EF4-FFF2-40B4-BE49-F238E27FC236}">
                            <a16:creationId xmlns:a16="http://schemas.microsoft.com/office/drawing/2014/main" id="{FDC0E8DE-1F70-9615-CBCD-D5F5B6F88F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vert="horz"/>
          <a:lstStyle/>
          <a:p>
            <a:pPr algn="l"/>
            <a:r>
              <a:rPr lang="en-GB" b="0" i="0" u="none" baseline="0" dirty="0"/>
              <a:t>Check-in (example activity)</a:t>
            </a:r>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7" y="1412875"/>
            <a:ext cx="5364163" cy="4680000"/>
          </a:xfrm>
        </p:spPr>
        <p:txBody>
          <a:bodyPr vert="horz" lIns="0" tIns="0" rIns="0" bIns="0" rtlCol="0" anchor="t">
            <a:noAutofit/>
          </a:bodyPr>
          <a:lstStyle/>
          <a:p>
            <a:pPr marL="0" indent="0" algn="l">
              <a:buNone/>
            </a:pPr>
            <a:r>
              <a:rPr lang="en-GB" sz="1600" b="1" i="0" u="none" baseline="0" dirty="0"/>
              <a:t>Please share a few sentences with us! Sources of inspiration:</a:t>
            </a:r>
          </a:p>
          <a:p>
            <a:pPr marL="0" indent="0" algn="l">
              <a:buNone/>
            </a:pPr>
            <a:endParaRPr lang="en-GB" sz="1600" b="1" dirty="0"/>
          </a:p>
          <a:p>
            <a:pPr algn="l">
              <a:spcBef>
                <a:spcPts val="0"/>
              </a:spcBef>
              <a:spcAft>
                <a:spcPts val="600"/>
              </a:spcAft>
            </a:pPr>
            <a:r>
              <a:rPr lang="en-GB" sz="1600" b="0" i="0" u="none" baseline="0" dirty="0">
                <a:latin typeface="+mn-lt"/>
                <a:ea typeface="+mn-lt"/>
                <a:cs typeface="+mn-lt"/>
                <a:hlinkClick r:id="rId6"/>
              </a:rPr>
              <a:t>Tscheck.in (question generator)</a:t>
            </a:r>
            <a:r>
              <a:rPr lang="en-GB" sz="1600" b="0" i="0" u="none" baseline="0" dirty="0">
                <a:latin typeface="+mn-lt"/>
                <a:ea typeface="+mn-lt"/>
                <a:cs typeface="+mn-lt"/>
              </a:rPr>
              <a:t> – Examples:</a:t>
            </a:r>
          </a:p>
          <a:p>
            <a:pPr algn="l">
              <a:spcBef>
                <a:spcPts val="0"/>
              </a:spcBef>
              <a:spcAft>
                <a:spcPts val="600"/>
              </a:spcAft>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marL="0" indent="0" algn="l">
              <a:spcBef>
                <a:spcPts val="0"/>
              </a:spcBef>
              <a:spcAft>
                <a:spcPts val="600"/>
              </a:spcAft>
              <a:buNone/>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endParaRPr lang="en-GB" sz="1600" dirty="0">
              <a:ea typeface="+mn-lt"/>
              <a:cs typeface="+mn-lt"/>
              <a:hlinkClick r:id="" action="ppaction://noaction"/>
            </a:endParaRPr>
          </a:p>
          <a:p>
            <a:pPr algn="l">
              <a:spcBef>
                <a:spcPts val="0"/>
              </a:spcBef>
              <a:spcAft>
                <a:spcPts val="600"/>
              </a:spcAft>
            </a:pPr>
            <a:r>
              <a:rPr lang="en-GB" sz="1600" b="0" i="0" u="none" baseline="0" dirty="0">
                <a:latin typeface="+mn-lt"/>
                <a:ea typeface="+mn-lt"/>
                <a:cs typeface="+mn-lt"/>
                <a:hlinkClick r:id="rId7"/>
              </a:rPr>
              <a:t>Workshop games (focus on online meetings)</a:t>
            </a:r>
            <a:endParaRPr lang="en-GB" dirty="0">
              <a:ea typeface="+mn-lt"/>
              <a:cs typeface="+mn-lt"/>
            </a:endParaRPr>
          </a:p>
          <a:p>
            <a:pPr marL="0" indent="0" algn="l">
              <a:spcBef>
                <a:spcPts val="0"/>
              </a:spcBef>
              <a:spcAft>
                <a:spcPts val="600"/>
              </a:spcAft>
              <a:buNone/>
            </a:pPr>
            <a:endParaRPr lang="en-GB" sz="1600" dirty="0">
              <a:ea typeface="+mn-lt"/>
              <a:cs typeface="+mn-lt"/>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pPr algn="l"/>
            <a:fld id="{1872F5FE-9209-4F36-B8DE-38144342D3C0}" type="datetime1">
              <a:rPr lang="en-GB" smtClean="0"/>
              <a:pPr algn="l"/>
              <a:t>29/02/2024</a:t>
            </a:fld>
            <a:endParaRPr lang="en-GB" noProof="0" dirty="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dirty="0">
              <a:cs typeface="Arial"/>
            </a:endParaRPr>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pPr algn="r"/>
            <a:fld id="{5ACA52AF-F19D-405C-AD5F-7D94B96A5CC3}" type="slidenum">
              <a:rPr lang="en-GB" smtClean="0"/>
              <a:pPr algn="r"/>
              <a:t>16</a:t>
            </a:fld>
            <a:endParaRPr lang="en-GB" noProof="0" dirty="0"/>
          </a:p>
        </p:txBody>
      </p:sp>
      <p:pic>
        <p:nvPicPr>
          <p:cNvPr id="8" name="Picture 7" descr="A picture containing mountain, water, sky, outdoors&#10;&#10;Description automatically generated">
            <a:extLst>
              <a:ext uri="{FF2B5EF4-FFF2-40B4-BE49-F238E27FC236}">
                <a16:creationId xmlns:a16="http://schemas.microsoft.com/office/drawing/2014/main" id="{A6706CC3-8947-4813-8BE0-CC4FF62607E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93669" y="1160351"/>
            <a:ext cx="3866493" cy="5155324"/>
          </a:xfrm>
          <a:prstGeom prst="rect">
            <a:avLst/>
          </a:prstGeom>
        </p:spPr>
      </p:pic>
      <p:pic>
        <p:nvPicPr>
          <p:cNvPr id="10" name="Grafik 9">
            <a:extLst>
              <a:ext uri="{FF2B5EF4-FFF2-40B4-BE49-F238E27FC236}">
                <a16:creationId xmlns:a16="http://schemas.microsoft.com/office/drawing/2014/main" id="{6FE4055E-3E6B-4474-A2CE-18842F606BD5}"/>
              </a:ext>
            </a:extLst>
          </p:cNvPr>
          <p:cNvPicPr>
            <a:picLocks noChangeAspect="1"/>
          </p:cNvPicPr>
          <p:nvPr/>
        </p:nvPicPr>
        <p:blipFill>
          <a:blip r:embed="rId9"/>
          <a:stretch>
            <a:fillRect/>
          </a:stretch>
        </p:blipFill>
        <p:spPr>
          <a:xfrm>
            <a:off x="731837" y="2420275"/>
            <a:ext cx="2389735" cy="1413926"/>
          </a:xfrm>
          <a:prstGeom prst="rect">
            <a:avLst/>
          </a:prstGeom>
        </p:spPr>
      </p:pic>
      <p:pic>
        <p:nvPicPr>
          <p:cNvPr id="12" name="Grafik 11">
            <a:extLst>
              <a:ext uri="{FF2B5EF4-FFF2-40B4-BE49-F238E27FC236}">
                <a16:creationId xmlns:a16="http://schemas.microsoft.com/office/drawing/2014/main" id="{5F783A66-5A74-4E68-BBA5-8A956AE16DDB}"/>
              </a:ext>
            </a:extLst>
          </p:cNvPr>
          <p:cNvPicPr>
            <a:picLocks noChangeAspect="1"/>
          </p:cNvPicPr>
          <p:nvPr/>
        </p:nvPicPr>
        <p:blipFill>
          <a:blip r:embed="rId10"/>
          <a:stretch>
            <a:fillRect/>
          </a:stretch>
        </p:blipFill>
        <p:spPr>
          <a:xfrm>
            <a:off x="3258207" y="2420276"/>
            <a:ext cx="2344865" cy="1413926"/>
          </a:xfrm>
          <a:prstGeom prst="rect">
            <a:avLst/>
          </a:prstGeom>
        </p:spPr>
      </p:pic>
      <p:pic>
        <p:nvPicPr>
          <p:cNvPr id="14" name="Grafik 13">
            <a:extLst>
              <a:ext uri="{FF2B5EF4-FFF2-40B4-BE49-F238E27FC236}">
                <a16:creationId xmlns:a16="http://schemas.microsoft.com/office/drawing/2014/main" id="{DDDEC08A-4E6C-43B2-B5B1-AFE10744E31A}"/>
              </a:ext>
            </a:extLst>
          </p:cNvPr>
          <p:cNvPicPr>
            <a:picLocks noChangeAspect="1"/>
          </p:cNvPicPr>
          <p:nvPr/>
        </p:nvPicPr>
        <p:blipFill>
          <a:blip r:embed="rId11"/>
          <a:stretch>
            <a:fillRect/>
          </a:stretch>
        </p:blipFill>
        <p:spPr>
          <a:xfrm>
            <a:off x="3258207" y="3950809"/>
            <a:ext cx="2344865" cy="1342368"/>
          </a:xfrm>
          <a:prstGeom prst="rect">
            <a:avLst/>
          </a:prstGeom>
        </p:spPr>
      </p:pic>
      <p:pic>
        <p:nvPicPr>
          <p:cNvPr id="16" name="Grafik 15">
            <a:extLst>
              <a:ext uri="{FF2B5EF4-FFF2-40B4-BE49-F238E27FC236}">
                <a16:creationId xmlns:a16="http://schemas.microsoft.com/office/drawing/2014/main" id="{AB009935-8664-402E-BDCF-4E2253BCDD8F}"/>
              </a:ext>
            </a:extLst>
          </p:cNvPr>
          <p:cNvPicPr>
            <a:picLocks noChangeAspect="1"/>
          </p:cNvPicPr>
          <p:nvPr/>
        </p:nvPicPr>
        <p:blipFill>
          <a:blip r:embed="rId12"/>
          <a:stretch>
            <a:fillRect/>
          </a:stretch>
        </p:blipFill>
        <p:spPr>
          <a:xfrm>
            <a:off x="731837" y="3950809"/>
            <a:ext cx="2389735" cy="1342368"/>
          </a:xfrm>
          <a:prstGeom prst="rect">
            <a:avLst/>
          </a:prstGeom>
        </p:spPr>
      </p:pic>
      <p:sp>
        <p:nvSpPr>
          <p:cNvPr id="7" name="Rechteck 6">
            <a:extLst>
              <a:ext uri="{FF2B5EF4-FFF2-40B4-BE49-F238E27FC236}">
                <a16:creationId xmlns:a16="http://schemas.microsoft.com/office/drawing/2014/main" id="{4EEF28D3-ECB8-4C59-9270-E65402E2F891}"/>
              </a:ext>
            </a:extLst>
          </p:cNvPr>
          <p:cNvSpPr/>
          <p:nvPr/>
        </p:nvSpPr>
        <p:spPr>
          <a:xfrm>
            <a:off x="-147145" y="-105103"/>
            <a:ext cx="12423228" cy="7073462"/>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Rechteck 12">
            <a:extLst>
              <a:ext uri="{FF2B5EF4-FFF2-40B4-BE49-F238E27FC236}">
                <a16:creationId xmlns:a16="http://schemas.microsoft.com/office/drawing/2014/main" id="{2B68A964-FCDE-4A36-85BA-08758536C95C}"/>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
        <p:nvSpPr>
          <p:cNvPr id="9" name="Rechteck: abgerundete Ecken 8">
            <a:extLst>
              <a:ext uri="{FF2B5EF4-FFF2-40B4-BE49-F238E27FC236}">
                <a16:creationId xmlns:a16="http://schemas.microsoft.com/office/drawing/2014/main" id="{0E2807F2-D9BD-433B-B6EF-CF115AF7F215}"/>
              </a:ext>
            </a:extLst>
          </p:cNvPr>
          <p:cNvSpPr/>
          <p:nvPr/>
        </p:nvSpPr>
        <p:spPr>
          <a:xfrm>
            <a:off x="594911" y="1949986"/>
            <a:ext cx="6338413" cy="4142889"/>
          </a:xfrm>
          <a:prstGeom prst="roundRect">
            <a:avLst>
              <a:gd name="adj" fmla="val 8157"/>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r>
              <a:rPr lang="en-GB" b="0" i="0" u="none" baseline="0" dirty="0">
                <a:solidFill>
                  <a:schemeClr val="bg1"/>
                </a:solidFill>
              </a:rPr>
              <a:t>The “check-in” part of the workshop helps participants get into the right mindset, relax and warm up. It creates a positive atmosphere for the rest of the session.</a:t>
            </a:r>
          </a:p>
          <a:p>
            <a:pPr marL="285750" indent="-285750" algn="ctr">
              <a:buFont typeface="Arial" panose="020B0604020202020204" pitchFamily="34" charset="0"/>
              <a:buChar char="•"/>
            </a:pPr>
            <a:endParaRPr lang="en-GB" dirty="0">
              <a:solidFill>
                <a:schemeClr val="bg1"/>
              </a:solidFill>
            </a:endParaRPr>
          </a:p>
          <a:p>
            <a:pPr marL="285750" indent="-285750" algn="ctr">
              <a:buFont typeface="Arial" panose="020B0604020202020204" pitchFamily="34" charset="0"/>
              <a:buChar char="•"/>
            </a:pPr>
            <a:r>
              <a:rPr lang="en-GB" b="0" i="0" u="none" baseline="0" dirty="0">
                <a:solidFill>
                  <a:schemeClr val="bg1"/>
                </a:solidFill>
              </a:rPr>
              <a:t>Please adapt this page to your team’s needs, </a:t>
            </a:r>
            <a:br>
              <a:rPr lang="en-GB" dirty="0">
                <a:solidFill>
                  <a:schemeClr val="bg1"/>
                </a:solidFill>
              </a:rPr>
            </a:br>
            <a:r>
              <a:rPr lang="en-GB" b="0" i="0" u="none" baseline="0" dirty="0">
                <a:solidFill>
                  <a:schemeClr val="bg1"/>
                </a:solidFill>
              </a:rPr>
              <a:t>e.g., by pre-selecting questions or coming up with some of your own.</a:t>
            </a:r>
          </a:p>
          <a:p>
            <a:pPr marL="285750" indent="-285750" algn="ctr">
              <a:buFont typeface="Arial" panose="020B0604020202020204" pitchFamily="34" charset="0"/>
              <a:buChar char="•"/>
            </a:pPr>
            <a:endParaRPr lang="en-GB" dirty="0">
              <a:solidFill>
                <a:schemeClr val="bg1"/>
              </a:solidFill>
            </a:endParaRPr>
          </a:p>
          <a:p>
            <a:pPr marL="285750" indent="-285750" algn="ctr">
              <a:buFont typeface="Arial" panose="020B0604020202020204" pitchFamily="34" charset="0"/>
              <a:buChar char="•"/>
            </a:pPr>
            <a:r>
              <a:rPr lang="en-GB" b="0" i="0" u="none" baseline="0" dirty="0">
                <a:solidFill>
                  <a:schemeClr val="bg1"/>
                </a:solidFill>
              </a:rPr>
              <a:t>As an alternative, you can start off directly with the Tscheck.in question generator and be taken by surprise.</a:t>
            </a:r>
          </a:p>
          <a:p>
            <a:pPr marL="285750" indent="-285750" algn="ctr">
              <a:buFont typeface="Arial" panose="020B0604020202020204" pitchFamily="34" charset="0"/>
              <a:buChar char="•"/>
            </a:pPr>
            <a:endParaRPr lang="en-GB" dirty="0">
              <a:solidFill>
                <a:schemeClr val="bg1"/>
              </a:solidFill>
            </a:endParaRPr>
          </a:p>
          <a:p>
            <a:pPr marL="285750" indent="-285750" algn="ctr">
              <a:buFont typeface="Arial" panose="020B0604020202020204" pitchFamily="34" charset="0"/>
              <a:buChar char="•"/>
            </a:pPr>
            <a:r>
              <a:rPr lang="en-GB" b="0" i="0" u="none" baseline="0" dirty="0">
                <a:solidFill>
                  <a:schemeClr val="bg1"/>
                </a:solidFill>
              </a:rPr>
              <a:t>Refer </a:t>
            </a:r>
            <a:r>
              <a:rPr lang="en-GB" b="0" i="0" u="none" baseline="0" dirty="0">
                <a:solidFill>
                  <a:schemeClr val="bg1"/>
                </a:solidFill>
                <a:hlinkClick r:id="rId13">
                  <a:extLst>
                    <a:ext uri="{A12FA001-AC4F-418D-AE19-62706E023703}">
                      <ahyp:hlinkClr xmlns:ahyp="http://schemas.microsoft.com/office/drawing/2018/hyperlinkcolor" val="tx"/>
                    </a:ext>
                  </a:extLst>
                </a:hlinkClick>
              </a:rPr>
              <a:t>here</a:t>
            </a:r>
            <a:r>
              <a:rPr lang="en-GB" b="0" i="0" u="none" baseline="0" dirty="0">
                <a:solidFill>
                  <a:schemeClr val="bg1"/>
                </a:solidFill>
              </a:rPr>
              <a:t> for more ideas</a:t>
            </a:r>
            <a:r>
              <a:rPr lang="en-GB" b="0" i="0" u="none" baseline="0" dirty="0"/>
              <a:t>. </a:t>
            </a:r>
          </a:p>
        </p:txBody>
      </p:sp>
    </p:spTree>
    <p:extLst>
      <p:ext uri="{BB962C8B-B14F-4D97-AF65-F5344CB8AC3E}">
        <p14:creationId xmlns:p14="http://schemas.microsoft.com/office/powerpoint/2010/main" val="1776128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57157A-A2E8-B94D-C3CB-8D20769C6F21}"/>
              </a:ext>
            </a:extLst>
          </p:cNvPr>
          <p:cNvGraphicFramePr>
            <a:graphicFrameLocks noChangeAspect="1"/>
          </p:cNvGraphicFramePr>
          <p:nvPr>
            <p:custDataLst>
              <p:tags r:id="rId1"/>
            </p:custDataLst>
            <p:extLst>
              <p:ext uri="{D42A27DB-BD31-4B8C-83A1-F6EECF244321}">
                <p14:modId xmlns:p14="http://schemas.microsoft.com/office/powerpoint/2010/main" val="329631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157157A-A2E8-B94D-C3CB-8D20769C6F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288D84CC-8C5A-4B5B-89C5-B3D47B8DCCEA}"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17</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1822251460"/>
              </p:ext>
            </p:extLst>
          </p:nvPr>
        </p:nvGraphicFramePr>
        <p:xfrm>
          <a:off x="731837" y="1412874"/>
          <a:ext cx="10728324" cy="4679998"/>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496991">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455575">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explanation of schedule</a:t>
                      </a:r>
                      <a:endParaRPr lang="en-GB" sz="1600" noProof="0" dirty="0">
                        <a:effectLst/>
                      </a:endParaRPr>
                    </a:p>
                  </a:txBody>
                  <a:tcPr marL="72000" marR="0" marT="0" marB="0" anchor="ctr"/>
                </a:tc>
                <a:extLst>
                  <a:ext uri="{0D108BD9-81ED-4DB2-BD59-A6C34878D82A}">
                    <a16:rowId xmlns:a16="http://schemas.microsoft.com/office/drawing/2014/main" val="4208406674"/>
                  </a:ext>
                </a:extLst>
              </a:tr>
              <a:tr h="455575">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496991">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solidFill>
                      <a:schemeClr val="accent6">
                        <a:lumMod val="20000"/>
                        <a:lumOff val="80000"/>
                      </a:schemeClr>
                    </a:solidFill>
                  </a:tcPr>
                </a:tc>
                <a:tc>
                  <a:txBody>
                    <a:bodyPr/>
                    <a:lstStyle/>
                    <a:p>
                      <a:pPr marL="0" algn="l" rtl="0" eaLnBrk="1" latinLnBrk="0" hangingPunct="1">
                        <a:spcBef>
                          <a:spcPts val="0"/>
                        </a:spcBef>
                        <a:spcAft>
                          <a:spcPts val="0"/>
                        </a:spcAft>
                      </a:pPr>
                      <a:r>
                        <a:rPr lang="en-GB" sz="1600" b="0" i="0" u="none" kern="1200" baseline="0" dirty="0">
                          <a:effectLst/>
                        </a:rPr>
                        <a:t>Set the scope: “Return to the office” and future ways of working</a:t>
                      </a:r>
                    </a:p>
                  </a:txBody>
                  <a:tcPr marL="72000" marR="0" marT="0" marB="0" anchor="ctr">
                    <a:solidFill>
                      <a:schemeClr val="accent6">
                        <a:lumMod val="20000"/>
                        <a:lumOff val="80000"/>
                      </a:schemeClr>
                    </a:solidFill>
                  </a:tcPr>
                </a:tc>
                <a:extLst>
                  <a:ext uri="{0D108BD9-81ED-4DB2-BD59-A6C34878D82A}">
                    <a16:rowId xmlns:a16="http://schemas.microsoft.com/office/drawing/2014/main" val="503110164"/>
                  </a:ext>
                </a:extLst>
              </a:tr>
              <a:tr h="496991">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4265229918"/>
                  </a:ext>
                </a:extLst>
              </a:tr>
              <a:tr h="455575">
                <a:tc>
                  <a:txBody>
                    <a:bodyPr/>
                    <a:lstStyle/>
                    <a:p>
                      <a:pPr marL="0" algn="l" rtl="0" eaLnBrk="1" latinLnBrk="0" hangingPunct="1">
                        <a:spcBef>
                          <a:spcPts val="0"/>
                        </a:spcBef>
                        <a:spcAft>
                          <a:spcPts val="0"/>
                        </a:spcAft>
                      </a:pPr>
                      <a:r>
                        <a:rPr lang="en-GB" sz="1600" b="0" i="0" u="none" kern="1200" baseline="0" dirty="0">
                          <a:effectLst/>
                        </a:rPr>
                        <a:t>4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1st step: Review &amp; taking a look back</a:t>
                      </a:r>
                    </a:p>
                  </a:txBody>
                  <a:tcPr marL="72000" marR="0" marT="0" marB="0" anchor="ctr"/>
                </a:tc>
                <a:extLst>
                  <a:ext uri="{0D108BD9-81ED-4DB2-BD59-A6C34878D82A}">
                    <a16:rowId xmlns:a16="http://schemas.microsoft.com/office/drawing/2014/main" val="4278321526"/>
                  </a:ext>
                </a:extLst>
              </a:tr>
              <a:tr h="455575">
                <a:tc>
                  <a:txBody>
                    <a:bodyPr/>
                    <a:lstStyle/>
                    <a:p>
                      <a:pPr marL="0" algn="l" rtl="0" eaLnBrk="1" latinLnBrk="0" hangingPunct="1">
                        <a:spcBef>
                          <a:spcPts val="0"/>
                        </a:spcBef>
                        <a:spcAft>
                          <a:spcPts val="0"/>
                        </a:spcAft>
                      </a:pPr>
                      <a:r>
                        <a:rPr lang="en-GB" sz="1600" b="0" i="0" u="none" kern="1200" baseline="0" dirty="0">
                          <a:effectLst/>
                        </a:rPr>
                        <a:t>10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2nd step: Shaping the status quo</a:t>
                      </a:r>
                    </a:p>
                  </a:txBody>
                  <a:tcPr marL="72000" marR="0" marT="0" marB="0" anchor="ctr"/>
                </a:tc>
                <a:extLst>
                  <a:ext uri="{0D108BD9-81ED-4DB2-BD59-A6C34878D82A}">
                    <a16:rowId xmlns:a16="http://schemas.microsoft.com/office/drawing/2014/main" val="2902014262"/>
                  </a:ext>
                </a:extLst>
              </a:tr>
              <a:tr h="455575">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indent="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4183937973"/>
                  </a:ext>
                </a:extLst>
              </a:tr>
              <a:tr h="455575">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lvl="0" algn="l" rtl="0">
                        <a:spcBef>
                          <a:spcPts val="0"/>
                        </a:spcBef>
                        <a:spcAft>
                          <a:spcPts val="0"/>
                        </a:spcAft>
                        <a:buNone/>
                      </a:pPr>
                      <a:r>
                        <a:rPr lang="en-GB" sz="1600" b="0" i="0" u="none" kern="1200" baseline="0" dirty="0">
                          <a:effectLst/>
                        </a:rPr>
                        <a:t>3rd step: Outlook &amp; actions to take</a:t>
                      </a:r>
                    </a:p>
                  </a:txBody>
                  <a:tcPr marL="72000" marR="0" marT="0" marB="0" anchor="ctr"/>
                </a:tc>
                <a:extLst>
                  <a:ext uri="{0D108BD9-81ED-4DB2-BD59-A6C34878D82A}">
                    <a16:rowId xmlns:a16="http://schemas.microsoft.com/office/drawing/2014/main" val="3075414575"/>
                  </a:ext>
                </a:extLst>
              </a:tr>
              <a:tr h="455575">
                <a:tc>
                  <a:txBody>
                    <a:bodyPr/>
                    <a:lstStyle/>
                    <a:p>
                      <a:pPr marL="0" lvl="0" algn="l" rtl="0">
                        <a:spcBef>
                          <a:spcPts val="0"/>
                        </a:spcBef>
                        <a:spcAft>
                          <a:spcPts val="0"/>
                        </a:spcAft>
                        <a:buNone/>
                      </a:pPr>
                      <a:r>
                        <a:rPr lang="en-GB" sz="1600" b="0" i="0" u="none" kern="1200" baseline="0" dirty="0">
                          <a:effectLst/>
                        </a:rPr>
                        <a:t>1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92267456-644C-4ABD-8DF8-DD133671384B}"/>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graphicFrame>
        <p:nvGraphicFramePr>
          <p:cNvPr id="7" name="Table 6">
            <a:extLst>
              <a:ext uri="{FF2B5EF4-FFF2-40B4-BE49-F238E27FC236}">
                <a16:creationId xmlns:a16="http://schemas.microsoft.com/office/drawing/2014/main" id="{CB071684-A6F4-AD2D-614B-7C0DA5000E7A}"/>
              </a:ext>
            </a:extLst>
          </p:cNvPr>
          <p:cNvGraphicFramePr>
            <a:graphicFrameLocks noGrp="1"/>
          </p:cNvGraphicFramePr>
          <p:nvPr>
            <p:extLst>
              <p:ext uri="{D42A27DB-BD31-4B8C-83A1-F6EECF244321}">
                <p14:modId xmlns:p14="http://schemas.microsoft.com/office/powerpoint/2010/main" val="591081971"/>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solidFill>
                            <a:schemeClr val="bg1"/>
                          </a:solidFill>
                          <a:effectLst/>
                        </a:rPr>
                        <a:t>30 minutes</a:t>
                      </a:r>
                      <a:endParaRPr lang="en-GB" sz="1600" noProof="0" dirty="0">
                        <a:solidFill>
                          <a:schemeClr val="bg1"/>
                        </a:solidFill>
                        <a:effectLst/>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en-GB" sz="1600" b="0" i="0" u="none" kern="1200" baseline="0" dirty="0">
                          <a:solidFill>
                            <a:schemeClr val="bg1"/>
                          </a:solidFill>
                          <a:effectLst/>
                        </a:rPr>
                        <a:t>Collaboration</a:t>
                      </a:r>
                    </a:p>
                  </a:txBody>
                  <a:tcPr marL="72000" marR="0" marT="0" marB="0" anchor="ctr">
                    <a:solidFill>
                      <a:schemeClr val="accent2"/>
                    </a:solidFill>
                  </a:tcP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Goal attainment</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Team cohesion and well being</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effectLst/>
                        </a:rPr>
                        <a:t>2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Tree>
    <p:extLst>
      <p:ext uri="{BB962C8B-B14F-4D97-AF65-F5344CB8AC3E}">
        <p14:creationId xmlns:p14="http://schemas.microsoft.com/office/powerpoint/2010/main" val="1201837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5A7B0-3099-8ED9-DD67-7FDA65BEA332}"/>
              </a:ext>
            </a:extLst>
          </p:cNvPr>
          <p:cNvGraphicFramePr>
            <a:graphicFrameLocks noChangeAspect="1"/>
          </p:cNvGraphicFramePr>
          <p:nvPr>
            <p:custDataLst>
              <p:tags r:id="rId1"/>
            </p:custDataLst>
            <p:extLst>
              <p:ext uri="{D42A27DB-BD31-4B8C-83A1-F6EECF244321}">
                <p14:modId xmlns:p14="http://schemas.microsoft.com/office/powerpoint/2010/main" val="271281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755A7B0-3099-8ED9-DD67-7FDA65BEA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7615A340-A42F-4355-AF9F-1FA9C8C871B5}"/>
              </a:ext>
            </a:extLst>
          </p:cNvPr>
          <p:cNvSpPr>
            <a:spLocks noGrp="1"/>
          </p:cNvSpPr>
          <p:nvPr>
            <p:ph type="title"/>
          </p:nvPr>
        </p:nvSpPr>
        <p:spPr/>
        <p:txBody>
          <a:bodyPr vert="horz"/>
          <a:lstStyle/>
          <a:p>
            <a:pPr algn="l"/>
            <a:r>
              <a:rPr lang="en-GB" dirty="0"/>
              <a:t>Collaboration</a:t>
            </a:r>
          </a:p>
        </p:txBody>
      </p:sp>
      <p:sp>
        <p:nvSpPr>
          <p:cNvPr id="9" name="Inhaltsplatzhalter 8">
            <a:extLst>
              <a:ext uri="{FF2B5EF4-FFF2-40B4-BE49-F238E27FC236}">
                <a16:creationId xmlns:a16="http://schemas.microsoft.com/office/drawing/2014/main" id="{9209AE63-3AA5-4052-B998-05A99361B659}"/>
              </a:ext>
            </a:extLst>
          </p:cNvPr>
          <p:cNvSpPr>
            <a:spLocks noGrp="1"/>
          </p:cNvSpPr>
          <p:nvPr>
            <p:ph idx="1"/>
          </p:nvPr>
        </p:nvSpPr>
        <p:spPr/>
        <p:txBody>
          <a:bodyPr vert="horz" lIns="0" tIns="0" rIns="0" bIns="0" rtlCol="0" anchor="t">
            <a:noAutofit/>
          </a:bodyPr>
          <a:lstStyle/>
          <a:p>
            <a:pPr marL="342900" indent="-342900" algn="l">
              <a:spcBef>
                <a:spcPts val="0"/>
              </a:spcBef>
              <a:spcAft>
                <a:spcPts val="600"/>
              </a:spcAft>
              <a:buFont typeface="+mj-lt"/>
              <a:buAutoNum type="arabicPeriod"/>
            </a:pPr>
            <a:r>
              <a:rPr lang="en-GB" b="0" i="0" u="none" baseline="0" dirty="0"/>
              <a:t>Using index cards or sticky notes, everyone writes </a:t>
            </a:r>
            <a:r>
              <a:rPr lang="en-GB" b="0" i="0" u="none" baseline="0" dirty="0">
                <a:effectLst/>
              </a:rPr>
              <a:t>down their thoughts regarding the questions on the next slide, also considering the three different perspectives (review, shaping the future and action) </a:t>
            </a:r>
            <a:r>
              <a:rPr lang="en-GB" b="0" i="0" u="none" baseline="0" dirty="0"/>
              <a:t>(</a:t>
            </a:r>
            <a:r>
              <a:rPr lang="en-GB" b="1" i="0" u="none" baseline="0" dirty="0"/>
              <a:t>10 minutes</a:t>
            </a:r>
            <a:r>
              <a:rPr lang="en-GB" b="0" i="0" u="none" baseline="0" dirty="0"/>
              <a:t>).</a:t>
            </a:r>
          </a:p>
          <a:p>
            <a:pPr marL="342900" indent="-342900" algn="l">
              <a:spcBef>
                <a:spcPts val="0"/>
              </a:spcBef>
              <a:spcAft>
                <a:spcPts val="600"/>
              </a:spcAft>
              <a:buFont typeface="+mj-lt"/>
              <a:buAutoNum type="arabicPeriod"/>
            </a:pPr>
            <a:endParaRPr lang="en-GB" dirty="0">
              <a:effectLst/>
            </a:endParaRPr>
          </a:p>
          <a:p>
            <a:pPr marL="342900" indent="-342900">
              <a:spcBef>
                <a:spcPts val="0"/>
              </a:spcBef>
              <a:spcAft>
                <a:spcPts val="600"/>
              </a:spcAft>
              <a:buFont typeface="+mj-lt"/>
              <a:buAutoNum type="arabicPeriod"/>
            </a:pPr>
            <a:r>
              <a:rPr lang="en-GB" b="0" i="0" dirty="0"/>
              <a:t>Organise the sticky notes into three clusters on the board according to the three perspectives. </a:t>
            </a:r>
            <a:r>
              <a:rPr lang="en-GB" b="0" i="0" u="none" baseline="0" dirty="0">
                <a:sym typeface="Wingdings" panose="05000000000000000000" pitchFamily="2" charset="2"/>
              </a:rPr>
              <a:t>Similar/related points can be clustered in the process</a:t>
            </a:r>
            <a:r>
              <a:rPr lang="en-GB" b="1" i="0" u="none" baseline="0" dirty="0">
                <a:sym typeface="Wingdings" panose="05000000000000000000" pitchFamily="2" charset="2"/>
              </a:rPr>
              <a:t> (5 minutes).</a:t>
            </a:r>
            <a:endParaRPr lang="en-GB" dirty="0">
              <a:cs typeface="Arial"/>
            </a:endParaRPr>
          </a:p>
          <a:p>
            <a:pPr marL="342900" indent="-342900" algn="l">
              <a:spcBef>
                <a:spcPts val="0"/>
              </a:spcBef>
              <a:spcAft>
                <a:spcPts val="600"/>
              </a:spcAft>
              <a:buFont typeface="+mj-lt"/>
              <a:buAutoNum type="arabicPeriod"/>
            </a:pPr>
            <a:endParaRPr lang="en-GB" b="0" i="0" dirty="0">
              <a:effectLst/>
            </a:endParaRPr>
          </a:p>
          <a:p>
            <a:pPr marL="342900" indent="-342900" algn="l">
              <a:spcBef>
                <a:spcPts val="0"/>
              </a:spcBef>
              <a:spcAft>
                <a:spcPts val="600"/>
              </a:spcAft>
              <a:buFont typeface="+mj-lt"/>
              <a:buAutoNum type="arabicPeriod"/>
            </a:pPr>
            <a:r>
              <a:rPr lang="en-GB" b="0" i="0" u="none" baseline="0" dirty="0">
                <a:effectLst/>
              </a:rPr>
              <a:t>Engage in an open discussion on the outcome as each member briefly explains </a:t>
            </a:r>
            <a:r>
              <a:rPr lang="en-GB" b="0" i="0" u="none" baseline="0" dirty="0">
                <a:sym typeface="Wingdings" panose="05000000000000000000" pitchFamily="2" charset="2"/>
              </a:rPr>
              <a:t>what they’ve written and their reasoning behind it </a:t>
            </a:r>
            <a:r>
              <a:rPr lang="en-GB" b="1" i="0" u="none" baseline="0" dirty="0">
                <a:sym typeface="Wingdings" panose="05000000000000000000" pitchFamily="2" charset="2"/>
              </a:rPr>
              <a:t>(15 minutes).</a:t>
            </a:r>
          </a:p>
          <a:p>
            <a:pPr marL="266700" lvl="1" indent="0" algn="l">
              <a:spcBef>
                <a:spcPts val="0"/>
              </a:spcBef>
              <a:spcAft>
                <a:spcPts val="600"/>
              </a:spcAft>
              <a:buNone/>
            </a:pPr>
            <a:endParaRPr lang="en-GB" sz="1600" dirty="0">
              <a:sym typeface="Wingdings" panose="05000000000000000000" pitchFamily="2" charset="2"/>
            </a:endParaRPr>
          </a:p>
        </p:txBody>
      </p:sp>
      <p:sp>
        <p:nvSpPr>
          <p:cNvPr id="4" name="Datumsplatzhalter 3">
            <a:extLst>
              <a:ext uri="{FF2B5EF4-FFF2-40B4-BE49-F238E27FC236}">
                <a16:creationId xmlns:a16="http://schemas.microsoft.com/office/drawing/2014/main" id="{FA5818C9-C9D1-48A7-9FE3-27F36290F121}"/>
              </a:ext>
            </a:extLst>
          </p:cNvPr>
          <p:cNvSpPr>
            <a:spLocks noGrp="1"/>
          </p:cNvSpPr>
          <p:nvPr>
            <p:ph type="dt" sz="half" idx="10"/>
          </p:nvPr>
        </p:nvSpPr>
        <p:spPr/>
        <p:txBody>
          <a:bodyPr/>
          <a:lstStyle/>
          <a:p>
            <a:pPr algn="l"/>
            <a:fld id="{DC479F8D-C358-4D9E-B82B-44C01B6C92F0}"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B4E16BDA-60AE-4049-B980-EBCC04B91BB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CCDE28A4-0308-43D9-927A-710ACA164CBA}"/>
              </a:ext>
            </a:extLst>
          </p:cNvPr>
          <p:cNvSpPr>
            <a:spLocks noGrp="1"/>
          </p:cNvSpPr>
          <p:nvPr>
            <p:ph type="sldNum" sz="quarter" idx="12"/>
          </p:nvPr>
        </p:nvSpPr>
        <p:spPr/>
        <p:txBody>
          <a:bodyPr/>
          <a:lstStyle/>
          <a:p>
            <a:pPr algn="r"/>
            <a:fld id="{5ACA52AF-F19D-405C-AD5F-7D94B96A5CC3}" type="slidenum">
              <a:rPr lang="en-GB" smtClean="0"/>
              <a:pPr algn="r"/>
              <a:t>18</a:t>
            </a:fld>
            <a:endParaRPr lang="en-GB" noProof="0" dirty="0"/>
          </a:p>
        </p:txBody>
      </p:sp>
      <p:pic>
        <p:nvPicPr>
          <p:cNvPr id="13" name="Bildplatzhalter 12" descr="Picture of person inside and a wall.&#10;&#10;Automatically generated description">
            <a:extLst>
              <a:ext uri="{FF2B5EF4-FFF2-40B4-BE49-F238E27FC236}">
                <a16:creationId xmlns:a16="http://schemas.microsoft.com/office/drawing/2014/main" id="{59FE2311-5D11-48DC-BA97-201E1F53800E}"/>
              </a:ext>
            </a:extLst>
          </p:cNvPr>
          <p:cNvPicPr>
            <a:picLocks noGrp="1" noChangeAspect="1"/>
          </p:cNvPicPr>
          <p:nvPr>
            <p:ph type="pic" sz="quarter" idx="13"/>
          </p:nvPr>
        </p:nvPicPr>
        <p:blipFill rotWithShape="1">
          <a:blip r:embed="rId6"/>
          <a:srcRect l="30245" t="179" r="605" b="-179"/>
          <a:stretch/>
        </p:blipFill>
        <p:spPr>
          <a:xfrm>
            <a:off x="731838" y="1412875"/>
            <a:ext cx="5040000" cy="4860000"/>
          </a:xfrm>
        </p:spPr>
      </p:pic>
      <p:sp>
        <p:nvSpPr>
          <p:cNvPr id="10" name="Rechteck 9">
            <a:extLst>
              <a:ext uri="{FF2B5EF4-FFF2-40B4-BE49-F238E27FC236}">
                <a16:creationId xmlns:a16="http://schemas.microsoft.com/office/drawing/2014/main" id="{EDBD1B4F-7081-4E51-8198-482E2FAE9322}"/>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1257036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293487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sz="2800" b="0" i="0" u="none" kern="1200" baseline="0" dirty="0">
                <a:effectLst/>
              </a:rPr>
              <a:t>Collaboration – questions and perspectives</a:t>
            </a:r>
            <a:endParaRPr lang="en-GB" b="0" i="0" u="none" baseline="0" dirty="0"/>
          </a:p>
        </p:txBody>
      </p:sp>
      <p:sp>
        <p:nvSpPr>
          <p:cNvPr id="4" name="Datumsplatzhalter 3"/>
          <p:cNvSpPr>
            <a:spLocks noGrp="1"/>
          </p:cNvSpPr>
          <p:nvPr>
            <p:ph type="dt" sz="half" idx="10"/>
          </p:nvPr>
        </p:nvSpPr>
        <p:spPr/>
        <p:txBody>
          <a:bodyPr/>
          <a:lstStyle/>
          <a:p>
            <a:pPr algn="l"/>
            <a:fld id="{9CDC9712-DFE6-495F-85E9-624ECA17CA7B}" type="datetime1">
              <a:rPr lang="en-GB" smtClean="0"/>
              <a:pPr algn="l"/>
              <a:t>29/02/2024</a:t>
            </a:fld>
            <a:endParaRPr lang="en-GB"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19</a:t>
            </a:fld>
            <a:endParaRPr lang="en-GB" noProof="0" dirty="0"/>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
        <p:nvSpPr>
          <p:cNvPr id="19" name="Arrow: Pentagon 18">
            <a:extLst>
              <a:ext uri="{FF2B5EF4-FFF2-40B4-BE49-F238E27FC236}">
                <a16:creationId xmlns:a16="http://schemas.microsoft.com/office/drawing/2014/main" id="{A0AA57D8-6525-B82E-1C62-1D086A2C61F0}"/>
              </a:ext>
            </a:extLst>
          </p:cNvPr>
          <p:cNvSpPr/>
          <p:nvPr/>
        </p:nvSpPr>
        <p:spPr>
          <a:xfrm>
            <a:off x="7571269" y="2672443"/>
            <a:ext cx="1921084"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latin typeface="Arial"/>
                <a:ea typeface="Arial"/>
                <a:cs typeface="Arial"/>
              </a:rPr>
              <a:t>Shaping the future</a:t>
            </a:r>
            <a:r>
              <a:rPr lang="en-GB" b="0" i="0" u="none" baseline="0">
                <a:solidFill>
                  <a:schemeClr val="tx1"/>
                </a:solidFill>
                <a:latin typeface="Arial"/>
                <a:ea typeface="Arial"/>
                <a:cs typeface="Arial"/>
              </a:rPr>
              <a:t> - How would we like it to be?</a:t>
            </a:r>
            <a:endParaRPr lang="en-GB" b="0" i="0" u="none" baseline="0" dirty="0">
              <a:solidFill>
                <a:schemeClr val="tx1"/>
              </a:solidFill>
              <a:latin typeface="Arial"/>
              <a:ea typeface="Arial"/>
              <a:cs typeface="Arial"/>
            </a:endParaRPr>
          </a:p>
        </p:txBody>
      </p:sp>
      <p:sp>
        <p:nvSpPr>
          <p:cNvPr id="20" name="Arrow: Pentagon 19">
            <a:extLst>
              <a:ext uri="{FF2B5EF4-FFF2-40B4-BE49-F238E27FC236}">
                <a16:creationId xmlns:a16="http://schemas.microsoft.com/office/drawing/2014/main" id="{CF7B0E3C-915D-6129-4612-FFB31E8E9DE1}"/>
              </a:ext>
            </a:extLst>
          </p:cNvPr>
          <p:cNvSpPr/>
          <p:nvPr/>
        </p:nvSpPr>
        <p:spPr>
          <a:xfrm>
            <a:off x="731837" y="2672443"/>
            <a:ext cx="1921084"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rPr>
              <a:t>Review</a:t>
            </a:r>
            <a:r>
              <a:rPr lang="en-GB" b="0" i="0" u="none" baseline="0">
                <a:solidFill>
                  <a:schemeClr val="tx1"/>
                </a:solidFill>
              </a:rPr>
              <a:t> - How have things been working out so far?</a:t>
            </a:r>
            <a:endParaRPr lang="en-GB" b="0" i="0" u="none" baseline="0" dirty="0">
              <a:solidFill>
                <a:schemeClr val="tx1"/>
              </a:solidFill>
              <a:latin typeface="Arial"/>
              <a:ea typeface="Arial"/>
              <a:cs typeface="Arial"/>
            </a:endParaRPr>
          </a:p>
        </p:txBody>
      </p:sp>
      <p:sp>
        <p:nvSpPr>
          <p:cNvPr id="24" name="Arrow: Pentagon 23">
            <a:extLst>
              <a:ext uri="{FF2B5EF4-FFF2-40B4-BE49-F238E27FC236}">
                <a16:creationId xmlns:a16="http://schemas.microsoft.com/office/drawing/2014/main" id="{75D38813-0E3F-5E16-F430-0CD6F710989C}"/>
              </a:ext>
            </a:extLst>
          </p:cNvPr>
          <p:cNvSpPr/>
          <p:nvPr/>
        </p:nvSpPr>
        <p:spPr>
          <a:xfrm>
            <a:off x="9539078" y="2672443"/>
            <a:ext cx="1921084" cy="1496786"/>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latin typeface="Arial"/>
                <a:ea typeface="Arial"/>
                <a:cs typeface="Arial"/>
              </a:rPr>
              <a:t>Action - </a:t>
            </a:r>
            <a:r>
              <a:rPr lang="en-GB" i="0" u="none" baseline="0">
                <a:solidFill>
                  <a:schemeClr val="tx1"/>
                </a:solidFill>
                <a:latin typeface="Arial"/>
                <a:ea typeface="Arial"/>
                <a:cs typeface="Arial"/>
              </a:rPr>
              <a:t>What are we going to do about it?</a:t>
            </a:r>
            <a:endParaRPr lang="en-GB" i="0" u="none" baseline="0" dirty="0">
              <a:solidFill>
                <a:schemeClr val="tx1"/>
              </a:solidFill>
              <a:latin typeface="Arial"/>
              <a:ea typeface="Arial"/>
              <a:cs typeface="Arial"/>
            </a:endParaRPr>
          </a:p>
        </p:txBody>
      </p:sp>
      <p:pic>
        <p:nvPicPr>
          <p:cNvPr id="26" name="Graphic 25" descr="Drawing Figure outline">
            <a:extLst>
              <a:ext uri="{FF2B5EF4-FFF2-40B4-BE49-F238E27FC236}">
                <a16:creationId xmlns:a16="http://schemas.microsoft.com/office/drawing/2014/main" id="{31E44439-1382-DDF9-F549-7C738C452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46916" y="4185557"/>
            <a:ext cx="914400" cy="914400"/>
          </a:xfrm>
          <a:prstGeom prst="rect">
            <a:avLst/>
          </a:prstGeom>
        </p:spPr>
      </p:pic>
      <p:sp>
        <p:nvSpPr>
          <p:cNvPr id="28" name="Rechteck 9">
            <a:extLst>
              <a:ext uri="{FF2B5EF4-FFF2-40B4-BE49-F238E27FC236}">
                <a16:creationId xmlns:a16="http://schemas.microsoft.com/office/drawing/2014/main" id="{78A878A6-2955-34DC-8D75-4E2128930BD8}"/>
              </a:ext>
            </a:extLst>
          </p:cNvPr>
          <p:cNvSpPr/>
          <p:nvPr/>
        </p:nvSpPr>
        <p:spPr>
          <a:xfrm>
            <a:off x="2699645" y="1268999"/>
            <a:ext cx="4871623" cy="494674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en-GB" b="1" i="0" u="none" baseline="0">
                <a:solidFill>
                  <a:schemeClr val="tx1"/>
                </a:solidFill>
              </a:rPr>
              <a:t>Guiding questions</a:t>
            </a:r>
          </a:p>
          <a:p>
            <a:pPr lvl="0" algn="l"/>
            <a:endParaRPr lang="en-GB" b="1" i="0" u="none" baseline="0">
              <a:solidFill>
                <a:schemeClr val="tx1"/>
              </a:solidFill>
            </a:endParaRPr>
          </a:p>
          <a:p>
            <a:pPr marL="342900" lvl="0" indent="-342900" algn="l">
              <a:buFont typeface="+mj-lt"/>
              <a:buAutoNum type="arabicPeriod"/>
            </a:pPr>
            <a:r>
              <a:rPr lang="en-GB" b="0" i="0" u="none" baseline="0">
                <a:solidFill>
                  <a:schemeClr val="tx1"/>
                </a:solidFill>
              </a:rPr>
              <a:t>How do we organize our collaboration?</a:t>
            </a:r>
          </a:p>
          <a:p>
            <a:pPr marL="342900" lvl="0" indent="-342900" algn="l">
              <a:buFont typeface="+mj-lt"/>
              <a:buAutoNum type="arabicPeriod"/>
            </a:pPr>
            <a:r>
              <a:rPr lang="en-GB" b="0" i="0" u="none" baseline="0">
                <a:solidFill>
                  <a:schemeClr val="tx1"/>
                </a:solidFill>
              </a:rPr>
              <a:t>What is the balance between in-person and remote work, and how do we plan it (spontaneous vs. fixed days)?</a:t>
            </a:r>
          </a:p>
          <a:p>
            <a:pPr marL="342900" lvl="0" indent="-342900" algn="l">
              <a:buFont typeface="+mj-lt"/>
              <a:buAutoNum type="arabicPeriod"/>
            </a:pPr>
            <a:r>
              <a:rPr lang="en-GB" b="0" i="0" u="none" baseline="0">
                <a:solidFill>
                  <a:schemeClr val="tx1"/>
                </a:solidFill>
              </a:rPr>
              <a:t>How do we ensure transparency regarding working hours and locations for all team members?</a:t>
            </a:r>
          </a:p>
          <a:p>
            <a:pPr marL="342900" lvl="0" indent="-342900" algn="l">
              <a:buFont typeface="+mj-lt"/>
              <a:buAutoNum type="arabicPeriod"/>
            </a:pPr>
            <a:r>
              <a:rPr lang="en-GB" b="0" i="0" u="none" baseline="0">
                <a:solidFill>
                  <a:schemeClr val="tx1"/>
                </a:solidFill>
              </a:rPr>
              <a:t>What is the schedule for different forms of communication and exchange?</a:t>
            </a:r>
          </a:p>
          <a:p>
            <a:pPr marL="342900" lvl="0" indent="-342900" algn="l">
              <a:buFont typeface="+mj-lt"/>
              <a:buAutoNum type="arabicPeriod"/>
            </a:pPr>
            <a:r>
              <a:rPr lang="en-GB" b="0" i="0" u="none" baseline="0">
                <a:solidFill>
                  <a:schemeClr val="tx1"/>
                </a:solidFill>
              </a:rPr>
              <a:t>How do we handle situations when the need for in-person work or the desire of colleagues or third parties for an in-person meeting conflicts with individual planning or habits?</a:t>
            </a:r>
          </a:p>
          <a:p>
            <a:pPr marL="342900" lvl="0" indent="-342900" algn="l">
              <a:buFont typeface="+mj-lt"/>
              <a:buAutoNum type="arabicPeriod"/>
            </a:pPr>
            <a:r>
              <a:rPr lang="en-GB">
                <a:solidFill>
                  <a:schemeClr val="tx1"/>
                </a:solidFill>
              </a:rPr>
              <a:t>…</a:t>
            </a:r>
            <a:endParaRPr lang="en-GB" b="0" i="0" u="none" baseline="0" dirty="0">
              <a:solidFill>
                <a:schemeClr val="tx1"/>
              </a:solidFill>
            </a:endParaRPr>
          </a:p>
        </p:txBody>
      </p:sp>
    </p:spTree>
    <p:extLst>
      <p:ext uri="{BB962C8B-B14F-4D97-AF65-F5344CB8AC3E}">
        <p14:creationId xmlns:p14="http://schemas.microsoft.com/office/powerpoint/2010/main" val="1080794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FC14056-3291-216C-B428-AFA1A2516319}"/>
              </a:ext>
            </a:extLst>
          </p:cNvPr>
          <p:cNvGraphicFramePr>
            <a:graphicFrameLocks noChangeAspect="1"/>
          </p:cNvGraphicFramePr>
          <p:nvPr>
            <p:custDataLst>
              <p:tags r:id="rId1"/>
            </p:custDataLst>
            <p:extLst>
              <p:ext uri="{D42A27DB-BD31-4B8C-83A1-F6EECF244321}">
                <p14:modId xmlns:p14="http://schemas.microsoft.com/office/powerpoint/2010/main" val="235887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5FC14056-3291-216C-B428-AFA1A2516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en-GB" b="0" i="0" u="none" baseline="0" dirty="0"/>
              <a:t>Introduction to the workshop</a:t>
            </a:r>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p:txBody>
          <a:bodyPr/>
          <a:lstStyle/>
          <a:p>
            <a:pPr algn="l"/>
            <a:r>
              <a:rPr lang="en-GB" sz="1600" b="1" i="0" u="none" baseline="0" dirty="0"/>
              <a:t>How does this sample workshop work?</a:t>
            </a:r>
          </a:p>
          <a:p>
            <a:pPr lvl="1" algn="l">
              <a:buFont typeface="Arial" panose="020B0604020202020204" pitchFamily="34" charset="0"/>
              <a:buChar char="•"/>
            </a:pPr>
            <a:r>
              <a:rPr lang="en-GB" sz="1600" b="0" i="0" u="none" baseline="0" dirty="0"/>
              <a:t>The following slides can be used as a workshop template for establishing a consensus on how you and your team want to shape the future of work.</a:t>
            </a:r>
          </a:p>
          <a:p>
            <a:pPr algn="l"/>
            <a:r>
              <a:rPr lang="en-GB" sz="1600" b="1" i="0" u="none" baseline="0" dirty="0"/>
              <a:t>What was our concept for the sample workshop?</a:t>
            </a:r>
          </a:p>
          <a:p>
            <a:pPr lvl="1" algn="l">
              <a:buFont typeface="Arial" panose="020B0604020202020204" pitchFamily="34" charset="0"/>
              <a:buChar char="•"/>
            </a:pPr>
            <a:r>
              <a:rPr lang="en-GB" sz="1600" b="0" i="0" u="none" baseline="0" dirty="0"/>
              <a:t>The exercises and questions are suggestions that you can adapt to your team’s situation and needs as you see fit.</a:t>
            </a:r>
          </a:p>
          <a:p>
            <a:pPr lvl="1" algn="l">
              <a:buFont typeface="Arial" panose="020B0604020202020204" pitchFamily="34" charset="0"/>
              <a:buChar char="•"/>
            </a:pPr>
            <a:r>
              <a:rPr lang="en-GB" sz="1600" b="0" i="0" u="none" baseline="0" dirty="0"/>
              <a:t>The concept is based on interaction and open dialogue/discussion within your team (vs. a purely informational approach: “this is how it is”). </a:t>
            </a:r>
          </a:p>
          <a:p>
            <a:pPr algn="l"/>
            <a:r>
              <a:rPr lang="en-GB" sz="1600" b="1" i="0" u="none" baseline="0" dirty="0"/>
              <a:t>How is the sample workshop structured? </a:t>
            </a:r>
          </a:p>
          <a:p>
            <a:pPr lvl="1" algn="l">
              <a:buFont typeface="Arial" panose="020B0604020202020204" pitchFamily="34" charset="0"/>
              <a:buChar char="•"/>
            </a:pPr>
            <a:r>
              <a:rPr lang="en-GB" sz="1600" b="0" i="0" u="none" baseline="0" dirty="0"/>
              <a:t>You will find slides that you can directly use in your own workshop (and adapt if needed) as well as additional background information. The background info is tagged in green in the upper right-hand corner of the slide as it is on this slide. </a:t>
            </a: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D670E7D7-D302-41E8-8D96-4AB3FADD2E58}"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en-GB" smtClean="0"/>
              <a:pPr algn="r"/>
              <a:t>2</a:t>
            </a:fld>
            <a:endParaRPr lang="en-GB" noProof="0" dirty="0"/>
          </a:p>
        </p:txBody>
      </p:sp>
      <p:sp>
        <p:nvSpPr>
          <p:cNvPr id="7" name="Rechteck 6">
            <a:extLst>
              <a:ext uri="{FF2B5EF4-FFF2-40B4-BE49-F238E27FC236}">
                <a16:creationId xmlns:a16="http://schemas.microsoft.com/office/drawing/2014/main" id="{E00086F2-3B9A-4050-BCCD-632B815B626F}"/>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26317410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0F68F1-68CA-ADEE-CF64-C1974CB683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790F68F1-68CA-ADEE-CF64-C1974CB683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t>Dealing with extreme attitudes – possible approach</a:t>
            </a:r>
          </a:p>
        </p:txBody>
      </p:sp>
      <p:sp>
        <p:nvSpPr>
          <p:cNvPr id="3" name="Inhaltsplatzhalter 2"/>
          <p:cNvSpPr>
            <a:spLocks noGrp="1"/>
          </p:cNvSpPr>
          <p:nvPr>
            <p:ph idx="1"/>
          </p:nvPr>
        </p:nvSpPr>
        <p:spPr>
          <a:xfrm>
            <a:off x="727825" y="1160350"/>
            <a:ext cx="10296041" cy="5289861"/>
          </a:xfrm>
        </p:spPr>
        <p:txBody>
          <a:bodyPr vert="horz" lIns="0" tIns="0" rIns="0" bIns="0" rtlCol="0" anchor="t">
            <a:noAutofit/>
          </a:bodyPr>
          <a:lstStyle/>
          <a:p>
            <a:pPr marL="0" indent="0" algn="l" fontAlgn="base">
              <a:buNone/>
            </a:pPr>
            <a:r>
              <a:rPr lang="en-GB" sz="1600" b="0" i="0" u="none" baseline="0" dirty="0"/>
              <a:t>During the workshop, you may be confronted with attitudes, views and demands that you weren’t expecting. We therefore recommend preparing for a few discussion points and reflecting on your own views and potential reactions. This lays the foundation for a successful dialogue and for finding solutions that work for everyone. Some example situations are provided below. </a:t>
            </a:r>
            <a:endParaRPr lang="en-GB" sz="1600" dirty="0">
              <a:cs typeface="Arial"/>
            </a:endParaRPr>
          </a:p>
          <a:p>
            <a:pPr marL="0" indent="0" algn="l" fontAlgn="base">
              <a:buNone/>
            </a:pPr>
            <a:r>
              <a:rPr lang="en-GB" sz="1600" b="0" i="0" u="none" baseline="0" dirty="0"/>
              <a:t>Someone in your team says they want to work remotely </a:t>
            </a:r>
            <a:r>
              <a:rPr lang="en-GB" sz="1600" dirty="0"/>
              <a:t>80</a:t>
            </a:r>
            <a:r>
              <a:rPr lang="en-GB" sz="1600" b="0" i="0" u="none" baseline="0" dirty="0"/>
              <a:t>% of the time. </a:t>
            </a:r>
            <a:r>
              <a:rPr lang="en-GB" sz="1600" b="0" i="0" u="none" baseline="0" dirty="0">
                <a:sym typeface="Wingdings" panose="05000000000000000000" pitchFamily="2" charset="2"/>
              </a:rPr>
              <a:t></a:t>
            </a:r>
            <a:r>
              <a:rPr lang="en-GB" sz="1600" b="0" i="0" u="none" baseline="0" dirty="0"/>
              <a:t> How should you react? </a:t>
            </a:r>
            <a:br>
              <a:rPr lang="en-GB" sz="1600" dirty="0"/>
            </a:br>
            <a:r>
              <a:rPr lang="en-GB" sz="1600" b="0" i="0" u="none" baseline="0" dirty="0"/>
              <a:t>Instead of answering directly (“yes or no”), it’s a good idea to ask a few questions:</a:t>
            </a:r>
            <a:endParaRPr lang="en-GB" sz="1600" dirty="0">
              <a:cs typeface="Arial"/>
            </a:endParaRPr>
          </a:p>
          <a:p>
            <a:pPr marL="0" indent="0" algn="l">
              <a:buNone/>
            </a:pPr>
            <a:endParaRPr lang="en-GB" sz="1600" dirty="0"/>
          </a:p>
          <a:p>
            <a:pPr lvl="1" algn="l" fontAlgn="base">
              <a:buFont typeface="Arial" panose="020B0604020202020204" pitchFamily="34" charset="0"/>
              <a:buChar char="•"/>
            </a:pPr>
            <a:r>
              <a:rPr lang="en-GB" sz="1600" b="0" i="0" u="none" baseline="0" dirty="0"/>
              <a:t>Why would you like this arrangement? What are your reasons? Please share! (</a:t>
            </a:r>
            <a:r>
              <a:rPr lang="en-GB" sz="1600" b="0" i="1" u="none" baseline="0" dirty="0"/>
              <a:t>Understand</a:t>
            </a:r>
            <a:r>
              <a:rPr lang="en-GB" sz="1600" b="0" i="0" u="none" baseline="0" dirty="0"/>
              <a:t>) </a:t>
            </a:r>
            <a:endParaRPr lang="en-GB" sz="1600" dirty="0">
              <a:cs typeface="Arial"/>
            </a:endParaRPr>
          </a:p>
          <a:p>
            <a:pPr lvl="1" algn="l" fontAlgn="base">
              <a:buFont typeface="Arial" panose="020B0604020202020204" pitchFamily="34" charset="0"/>
              <a:buChar char="•"/>
            </a:pPr>
            <a:r>
              <a:rPr lang="en-GB" sz="1600" b="0" i="0" u="none" baseline="0" dirty="0"/>
              <a:t>Can you also understand my position/the needs of the team? (</a:t>
            </a:r>
            <a:r>
              <a:rPr lang="en-GB" sz="1600" b="0" i="1" u="none" baseline="0" dirty="0"/>
              <a:t>Encourage </a:t>
            </a:r>
            <a:r>
              <a:rPr lang="en-GB" sz="1600" b="0" i="0" u="none" baseline="0" dirty="0"/>
              <a:t>the person </a:t>
            </a:r>
            <a:r>
              <a:rPr lang="en-GB" sz="1600" b="0" i="1" u="none" baseline="0" dirty="0"/>
              <a:t>to understand </a:t>
            </a:r>
            <a:r>
              <a:rPr lang="en-GB" sz="1600" b="0" i="0" u="none" baseline="0" dirty="0"/>
              <a:t>other views) </a:t>
            </a:r>
            <a:endParaRPr lang="en-GB" sz="1600" dirty="0">
              <a:cs typeface="Arial"/>
            </a:endParaRPr>
          </a:p>
          <a:p>
            <a:pPr lvl="1" algn="l" fontAlgn="base">
              <a:buFont typeface="Arial" panose="020B0604020202020204" pitchFamily="34" charset="0"/>
              <a:buChar char="•"/>
            </a:pPr>
            <a:r>
              <a:rPr lang="en-GB" sz="1600" b="0" i="0" u="none" baseline="0" dirty="0"/>
              <a:t>What would you need to have to align more with the shared strategy/approach of the team? (</a:t>
            </a:r>
            <a:r>
              <a:rPr lang="en-GB" sz="1600" b="0" i="1" u="none" baseline="0" dirty="0"/>
              <a:t>Negotiate</a:t>
            </a:r>
            <a:r>
              <a:rPr lang="en-GB" sz="1600" b="0" i="0" u="none" baseline="0" dirty="0"/>
              <a:t>) </a:t>
            </a:r>
          </a:p>
          <a:p>
            <a:pPr marL="539750" lvl="1" indent="0" algn="l" fontAlgn="base">
              <a:buNone/>
            </a:pPr>
            <a:endParaRPr lang="en-GB" sz="1600" dirty="0">
              <a:cs typeface="Arial"/>
            </a:endParaRPr>
          </a:p>
          <a:p>
            <a:pPr marL="0" indent="0" algn="l" fontAlgn="base">
              <a:buNone/>
            </a:pPr>
            <a:r>
              <a:rPr lang="en-GB" sz="1600" b="0" i="0" u="none" baseline="0" dirty="0"/>
              <a:t>ETH does not allow 100% working from home arrangements and there is no </a:t>
            </a:r>
            <a:r>
              <a:rPr lang="en-GB" sz="1600" b="0" i="1" u="none" baseline="0" dirty="0"/>
              <a:t>right </a:t>
            </a:r>
            <a:r>
              <a:rPr lang="en-GB" sz="1600" b="0" i="0" u="none" baseline="0" dirty="0"/>
              <a:t>to work from home. At the same time, employees have certain needs that can’t be ignored, as shown by various surveys and assessments. Having the option to work from home is now even considered a must by some applicants. For this reason, we urge supervisors to grant their teams a certain degree of flexibility and to take their needs/demands seriously, if this doesn’t conflict with operational needs.</a:t>
            </a:r>
            <a:endParaRPr lang="en-GB" sz="1600" dirty="0">
              <a:cs typeface="Arial"/>
            </a:endParaRPr>
          </a:p>
        </p:txBody>
      </p:sp>
      <p:sp>
        <p:nvSpPr>
          <p:cNvPr id="4" name="Datumsplatzhalter 3"/>
          <p:cNvSpPr>
            <a:spLocks noGrp="1"/>
          </p:cNvSpPr>
          <p:nvPr>
            <p:ph type="dt" sz="half" idx="10"/>
          </p:nvPr>
        </p:nvSpPr>
        <p:spPr/>
        <p:txBody>
          <a:bodyPr/>
          <a:lstStyle/>
          <a:p>
            <a:pPr algn="l"/>
            <a:fld id="{61376480-91D2-46FC-A74F-1C4059F0381E}"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en-GB" b="0" i="0" u="none" baseline="0">
                <a:latin typeface="+mn-lt"/>
                <a:ea typeface="+mn-lt"/>
                <a:cs typeface="+mn-lt"/>
              </a:rPr>
              <a:t>Developing a team consensus and shaping the future of work together</a:t>
            </a:r>
            <a:endParaRPr lang="en-GB"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0</a:t>
            </a:fld>
            <a:endParaRPr lang="en-GB"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3213314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30197E-17A9-F408-EFC3-A8EBC43E8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6330197E-17A9-F408-EFC3-A8EBC43E8B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t>Dealing with extreme attitudes – self-reflection</a:t>
            </a:r>
          </a:p>
        </p:txBody>
      </p:sp>
      <p:sp>
        <p:nvSpPr>
          <p:cNvPr id="3" name="Inhaltsplatzhalter 2"/>
          <p:cNvSpPr>
            <a:spLocks noGrp="1"/>
          </p:cNvSpPr>
          <p:nvPr>
            <p:ph idx="1"/>
          </p:nvPr>
        </p:nvSpPr>
        <p:spPr>
          <a:xfrm>
            <a:off x="727825" y="883838"/>
            <a:ext cx="10296041" cy="5566374"/>
          </a:xfrm>
        </p:spPr>
        <p:txBody>
          <a:bodyPr vert="horz" lIns="0" tIns="0" rIns="0" bIns="0" rtlCol="0" anchor="t">
            <a:noAutofit/>
          </a:bodyPr>
          <a:lstStyle/>
          <a:p>
            <a:pPr marL="0" indent="0" algn="l" fontAlgn="base">
              <a:buNone/>
            </a:pPr>
            <a:r>
              <a:rPr lang="en-GB" sz="1500" b="0" i="0" u="none" baseline="0" dirty="0"/>
              <a:t>If you’re finding it hard to recognise or accommodate the needs/demands of your team members, you may find it useful to reflect on the following questions to better understand why you have reservations. These questions can also serve as a starting point for finding mutual solutions in 1:1 discussions. </a:t>
            </a:r>
            <a:br>
              <a:rPr lang="en-GB" sz="1500" dirty="0"/>
            </a:br>
            <a:endParaRPr lang="en-GB" sz="1500" dirty="0">
              <a:cs typeface="Arial"/>
            </a:endParaRPr>
          </a:p>
          <a:p>
            <a:pPr lvl="1" algn="l">
              <a:buFont typeface="Arial,Sans-Serif" panose="020B0604020202020204" pitchFamily="34" charset="0"/>
              <a:buChar char="•"/>
            </a:pPr>
            <a:r>
              <a:rPr lang="en-GB" sz="1500" b="0" i="0" u="none" baseline="0" dirty="0"/>
              <a:t>Why am I finding it difficult to accommodate my employees in this regard? What points in particular do I have reservations about? Are there any issues where I close up and become resistant to discussion? Why might that be? Internal/emotional reasons? </a:t>
            </a:r>
            <a:endParaRPr lang="en-GB" sz="1500" dirty="0">
              <a:cs typeface="Arial"/>
            </a:endParaRPr>
          </a:p>
          <a:p>
            <a:pPr lvl="1" algn="l">
              <a:buFont typeface="Arial,Sans-Serif" panose="020B0604020202020204" pitchFamily="34" charset="0"/>
              <a:buChar char="•"/>
            </a:pPr>
            <a:r>
              <a:rPr lang="en-GB" sz="1500" b="0" i="0" u="none" baseline="0" dirty="0"/>
              <a:t>What are my fear/concerns? Are they realistic? How can I test this? What can I do to alleviate my concerns? </a:t>
            </a:r>
            <a:endParaRPr lang="en-GB" sz="1500" dirty="0">
              <a:cs typeface="Arial"/>
            </a:endParaRPr>
          </a:p>
          <a:p>
            <a:pPr lvl="1" algn="l">
              <a:buFont typeface="Arial,Sans-Serif" panose="020B0604020202020204" pitchFamily="34" charset="0"/>
              <a:buChar char="•"/>
            </a:pPr>
            <a:r>
              <a:rPr lang="en-GB" sz="1500" b="0" i="0" u="none" baseline="0" dirty="0"/>
              <a:t>What could a possible compromise look this? If I show flexibility on this topic, what </a:t>
            </a:r>
            <a:r>
              <a:rPr lang="en-GB" sz="1500" dirty="0"/>
              <a:t>would</a:t>
            </a:r>
            <a:r>
              <a:rPr lang="en-GB" sz="1500" b="0" i="0" u="none" baseline="0" dirty="0"/>
              <a:t> my employees have to do in return? </a:t>
            </a:r>
            <a:endParaRPr lang="en-GB" sz="1500" dirty="0">
              <a:cs typeface="Arial"/>
            </a:endParaRPr>
          </a:p>
          <a:p>
            <a:pPr lvl="1" algn="l">
              <a:buFont typeface="Arial,Sans-Serif" panose="020B0604020202020204" pitchFamily="34" charset="0"/>
              <a:buChar char="•"/>
            </a:pPr>
            <a:r>
              <a:rPr lang="en-GB" sz="1500" b="0" i="0" u="none" baseline="0" dirty="0"/>
              <a:t>What kind of arrangements would they have to agree to? </a:t>
            </a:r>
            <a:endParaRPr lang="en-GB" sz="1500" dirty="0">
              <a:cs typeface="Arial"/>
            </a:endParaRPr>
          </a:p>
          <a:p>
            <a:pPr lvl="1" algn="l">
              <a:buFont typeface="Arial,Sans-Serif" panose="020B0604020202020204" pitchFamily="34" charset="0"/>
              <a:buChar char="•"/>
            </a:pPr>
            <a:r>
              <a:rPr lang="en-GB" sz="1500" b="0" i="0" u="none" baseline="0" dirty="0"/>
              <a:t>Can we agree to have a trial phase for new arrangements, etc.? </a:t>
            </a:r>
            <a:endParaRPr lang="en-GB" sz="1500" dirty="0">
              <a:cs typeface="Arial"/>
            </a:endParaRPr>
          </a:p>
          <a:p>
            <a:pPr marL="0" indent="0" algn="l">
              <a:buNone/>
            </a:pPr>
            <a:endParaRPr lang="en-GB" sz="1500" b="0" i="0" u="none" baseline="0" dirty="0">
              <a:latin typeface="Arial"/>
              <a:ea typeface="Arial"/>
              <a:cs typeface="Arial"/>
            </a:endParaRPr>
          </a:p>
          <a:p>
            <a:pPr marL="0" indent="0" algn="l">
              <a:buNone/>
            </a:pPr>
            <a:r>
              <a:rPr lang="en-GB" sz="1500" b="0" i="0" u="none" baseline="0" dirty="0">
                <a:latin typeface="Arial"/>
                <a:ea typeface="Arial"/>
                <a:cs typeface="Arial"/>
              </a:rPr>
              <a:t>Be careful not to spend too much workshop time on people with extreme views. Instead, offer to talk to them one on one afterwards. In this way, you can protect yourself and others from making hasty statements that are difficult to correct.</a:t>
            </a:r>
          </a:p>
          <a:p>
            <a:pPr marL="0" indent="0" algn="l">
              <a:buNone/>
            </a:pPr>
            <a:r>
              <a:rPr lang="en-GB" sz="1500" b="1" i="0" u="none" baseline="0" dirty="0">
                <a:latin typeface="Arial"/>
                <a:ea typeface="Arial"/>
                <a:cs typeface="Arial"/>
              </a:rPr>
              <a:t>It’s important to remember:</a:t>
            </a:r>
            <a:r>
              <a:rPr lang="en-GB" sz="1500" b="0" i="0" u="none" baseline="0" dirty="0">
                <a:latin typeface="Arial"/>
                <a:ea typeface="Arial"/>
                <a:cs typeface="Arial"/>
              </a:rPr>
              <a:t> People’s wants and needs don’t disappear just because we don’t talk about them. We recommend trying to find solutions where everyone sees at least part of their interests represented. At the same time, the goal is not endless self-optimisation, but a win-win situation that fosters goal-attainment, creativity, excellence as well as individual well-being. </a:t>
            </a:r>
          </a:p>
        </p:txBody>
      </p:sp>
      <p:sp>
        <p:nvSpPr>
          <p:cNvPr id="4" name="Datumsplatzhalter 3"/>
          <p:cNvSpPr>
            <a:spLocks noGrp="1"/>
          </p:cNvSpPr>
          <p:nvPr>
            <p:ph type="dt" sz="half" idx="10"/>
          </p:nvPr>
        </p:nvSpPr>
        <p:spPr/>
        <p:txBody>
          <a:bodyPr/>
          <a:lstStyle/>
          <a:p>
            <a:pPr algn="l"/>
            <a:fld id="{1D7C2D14-A7CA-4956-A4E7-2D38D8D43D55}"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en-GB" b="0" i="0" u="none" baseline="0">
                <a:latin typeface="+mn-lt"/>
                <a:ea typeface="+mn-lt"/>
                <a:cs typeface="+mn-lt"/>
              </a:rPr>
              <a:t>Developing a team consensus and shaping the future of work together</a:t>
            </a:r>
            <a:endParaRPr lang="en-GB"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1</a:t>
            </a:fld>
            <a:endParaRPr lang="en-GB"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687061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2660868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3E049244-AB1E-4340-AAA9-273764A071C8}"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2</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937710794"/>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ollaboration</a:t>
                      </a: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solidFill>
                            <a:schemeClr val="bg1"/>
                          </a:solidFill>
                          <a:effectLst/>
                        </a:rPr>
                        <a:t>30 minutes</a:t>
                      </a:r>
                      <a:endParaRPr lang="en-GB" sz="1600" noProof="0" dirty="0">
                        <a:solidFill>
                          <a:schemeClr val="bg1"/>
                        </a:solidFill>
                        <a:effectLst/>
                      </a:endParaRPr>
                    </a:p>
                  </a:txBody>
                  <a:tcPr marL="72000" marR="0" marT="0" marB="0" anchor="ctr">
                    <a:solidFill>
                      <a:schemeClr val="accent2"/>
                    </a:solidFill>
                  </a:tcPr>
                </a:tc>
                <a:tc>
                  <a:txBody>
                    <a:bodyPr/>
                    <a:lstStyle/>
                    <a:p>
                      <a:pPr marL="0" indent="0" algn="l" rtl="0" eaLnBrk="1" latinLnBrk="0" hangingPunct="1">
                        <a:spcBef>
                          <a:spcPts val="0"/>
                        </a:spcBef>
                        <a:spcAft>
                          <a:spcPts val="0"/>
                        </a:spcAft>
                      </a:pPr>
                      <a:r>
                        <a:rPr lang="en-GB" sz="1600" b="0" i="0" u="none" kern="1200" baseline="0" dirty="0">
                          <a:solidFill>
                            <a:schemeClr val="bg1"/>
                          </a:solidFill>
                          <a:effectLst/>
                        </a:rPr>
                        <a:t>Goal attainment</a:t>
                      </a:r>
                    </a:p>
                  </a:txBody>
                  <a:tcPr marL="72000" marR="0" marT="0" marB="0" anchor="ctr">
                    <a:solidFill>
                      <a:schemeClr val="accent2"/>
                    </a:solidFill>
                  </a:tcP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Team cohesion and well being</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effectLst/>
                        </a:rPr>
                        <a:t>2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3663326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F86D724-693B-0D9D-47EA-2D497893D3B1}"/>
              </a:ext>
            </a:extLst>
          </p:cNvPr>
          <p:cNvGraphicFramePr>
            <a:graphicFrameLocks noChangeAspect="1"/>
          </p:cNvGraphicFramePr>
          <p:nvPr>
            <p:custDataLst>
              <p:tags r:id="rId1"/>
            </p:custDataLst>
            <p:extLst>
              <p:ext uri="{D42A27DB-BD31-4B8C-83A1-F6EECF244321}">
                <p14:modId xmlns:p14="http://schemas.microsoft.com/office/powerpoint/2010/main" val="3719037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FF86D724-693B-0D9D-47EA-2D497893D3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0BD18C-4CB3-58F7-B41A-F4746B7DAA6D}"/>
              </a:ext>
            </a:extLst>
          </p:cNvPr>
          <p:cNvSpPr>
            <a:spLocks noGrp="1"/>
          </p:cNvSpPr>
          <p:nvPr>
            <p:ph type="title"/>
          </p:nvPr>
        </p:nvSpPr>
        <p:spPr/>
        <p:txBody>
          <a:bodyPr vert="horz"/>
          <a:lstStyle/>
          <a:p>
            <a:r>
              <a:rPr lang="en-GB" sz="2400" b="0" i="0" u="none" kern="1200" baseline="0" dirty="0">
                <a:effectLst/>
              </a:rPr>
              <a:t>Goal attainment - rating</a:t>
            </a:r>
            <a:endParaRPr lang="en-GB" b="1" dirty="0"/>
          </a:p>
        </p:txBody>
      </p:sp>
      <p:sp>
        <p:nvSpPr>
          <p:cNvPr id="3" name="Content Placeholder 2">
            <a:extLst>
              <a:ext uri="{FF2B5EF4-FFF2-40B4-BE49-F238E27FC236}">
                <a16:creationId xmlns:a16="http://schemas.microsoft.com/office/drawing/2014/main" id="{74ABCEC1-985B-1C66-2D33-43D74A38B600}"/>
              </a:ext>
            </a:extLst>
          </p:cNvPr>
          <p:cNvSpPr>
            <a:spLocks noGrp="1"/>
          </p:cNvSpPr>
          <p:nvPr>
            <p:ph idx="1"/>
          </p:nvPr>
        </p:nvSpPr>
        <p:spPr>
          <a:xfrm>
            <a:off x="731836" y="993775"/>
            <a:ext cx="10728325" cy="4680000"/>
          </a:xfrm>
        </p:spPr>
        <p:txBody>
          <a:bodyPr/>
          <a:lstStyle/>
          <a:p>
            <a:pPr marL="0" lvl="0" indent="0" algn="l">
              <a:buNone/>
            </a:pPr>
            <a:r>
              <a:rPr lang="en-GB" dirty="0">
                <a:solidFill>
                  <a:schemeClr val="tx1"/>
                </a:solidFill>
              </a:rPr>
              <a:t>Everyone in the team is asked to rate</a:t>
            </a:r>
            <a:r>
              <a:rPr lang="en-GB" i="0" u="none" baseline="0" dirty="0">
                <a:solidFill>
                  <a:schemeClr val="tx1"/>
                </a:solidFill>
              </a:rPr>
              <a:t> the statements on the next slide from 1-5 by placing stickers around the corresponding value, with 1 being “strongly disagree” and 5 being “strongly agree”</a:t>
            </a:r>
            <a:r>
              <a:rPr lang="en-GB" i="0" u="none" kern="1200" baseline="0" dirty="0">
                <a:effectLst/>
              </a:rPr>
              <a:t> (5 minutes)</a:t>
            </a:r>
            <a:r>
              <a:rPr lang="en-GB" i="0" u="none" baseline="0" dirty="0">
                <a:solidFill>
                  <a:schemeClr val="tx1"/>
                </a:solidFill>
              </a:rPr>
              <a:t>.</a:t>
            </a:r>
          </a:p>
          <a:p>
            <a:pPr marL="0" indent="0">
              <a:buNone/>
            </a:pPr>
            <a:endParaRPr lang="en-GB" dirty="0"/>
          </a:p>
        </p:txBody>
      </p:sp>
      <p:sp>
        <p:nvSpPr>
          <p:cNvPr id="4" name="Date Placeholder 3">
            <a:extLst>
              <a:ext uri="{FF2B5EF4-FFF2-40B4-BE49-F238E27FC236}">
                <a16:creationId xmlns:a16="http://schemas.microsoft.com/office/drawing/2014/main" id="{9670A952-0139-987A-EC8F-4073EDA64600}"/>
              </a:ext>
            </a:extLst>
          </p:cNvPr>
          <p:cNvSpPr>
            <a:spLocks noGrp="1"/>
          </p:cNvSpPr>
          <p:nvPr>
            <p:ph type="dt" sz="half" idx="10"/>
          </p:nvPr>
        </p:nvSpPr>
        <p:spPr/>
        <p:txBody>
          <a:bodyPr/>
          <a:lstStyle/>
          <a:p>
            <a:fld id="{BA1CD2D3-7F4A-4FFE-87C4-2131651F5470}" type="datetime1">
              <a:rPr lang="en-GB" smtClean="0"/>
              <a:pPr/>
              <a:t>29/02/2024</a:t>
            </a:fld>
            <a:endParaRPr lang="en-GB" dirty="0"/>
          </a:p>
        </p:txBody>
      </p:sp>
      <p:sp>
        <p:nvSpPr>
          <p:cNvPr id="5" name="Footer Placeholder 4">
            <a:extLst>
              <a:ext uri="{FF2B5EF4-FFF2-40B4-BE49-F238E27FC236}">
                <a16:creationId xmlns:a16="http://schemas.microsoft.com/office/drawing/2014/main" id="{E73758D5-CF6A-FFB7-8257-04B99498E9F0}"/>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Slide Number Placeholder 5">
            <a:extLst>
              <a:ext uri="{FF2B5EF4-FFF2-40B4-BE49-F238E27FC236}">
                <a16:creationId xmlns:a16="http://schemas.microsoft.com/office/drawing/2014/main" id="{6EFA5949-A927-7AC7-C6ED-10D752493660}"/>
              </a:ext>
            </a:extLst>
          </p:cNvPr>
          <p:cNvSpPr>
            <a:spLocks noGrp="1"/>
          </p:cNvSpPr>
          <p:nvPr>
            <p:ph type="sldNum" sz="quarter" idx="12"/>
          </p:nvPr>
        </p:nvSpPr>
        <p:spPr/>
        <p:txBody>
          <a:bodyPr/>
          <a:lstStyle/>
          <a:p>
            <a:fld id="{5ACA52AF-F19D-405C-AD5F-7D94B96A5CC3}" type="slidenum">
              <a:rPr lang="en-GB" smtClean="0"/>
              <a:pPr/>
              <a:t>23</a:t>
            </a:fld>
            <a:endParaRPr lang="en-GB" dirty="0"/>
          </a:p>
        </p:txBody>
      </p:sp>
      <p:pic>
        <p:nvPicPr>
          <p:cNvPr id="9" name="Picture 8" descr="A group of ornaments with different faces&#10;&#10;Description automatically generated">
            <a:extLst>
              <a:ext uri="{FF2B5EF4-FFF2-40B4-BE49-F238E27FC236}">
                <a16:creationId xmlns:a16="http://schemas.microsoft.com/office/drawing/2014/main" id="{B6B98562-4770-4F0F-3571-C6BF8AAE4F13}"/>
              </a:ext>
            </a:extLst>
          </p:cNvPr>
          <p:cNvPicPr>
            <a:picLocks noChangeAspect="1"/>
          </p:cNvPicPr>
          <p:nvPr/>
        </p:nvPicPr>
        <p:blipFill>
          <a:blip r:embed="rId6"/>
          <a:stretch>
            <a:fillRect/>
          </a:stretch>
        </p:blipFill>
        <p:spPr>
          <a:xfrm>
            <a:off x="1595824" y="2264638"/>
            <a:ext cx="9000348" cy="3599587"/>
          </a:xfrm>
          <a:prstGeom prst="rect">
            <a:avLst/>
          </a:prstGeom>
        </p:spPr>
      </p:pic>
      <p:sp>
        <p:nvSpPr>
          <p:cNvPr id="10" name="Textfeld 9">
            <a:extLst>
              <a:ext uri="{FF2B5EF4-FFF2-40B4-BE49-F238E27FC236}">
                <a16:creationId xmlns:a16="http://schemas.microsoft.com/office/drawing/2014/main" id="{EE1D506E-5D02-8A5C-4A4B-3A6A063A5333}"/>
              </a:ext>
            </a:extLst>
          </p:cNvPr>
          <p:cNvSpPr txBox="1"/>
          <p:nvPr/>
        </p:nvSpPr>
        <p:spPr>
          <a:xfrm>
            <a:off x="2423277" y="5448886"/>
            <a:ext cx="475332" cy="492443"/>
          </a:xfrm>
          <a:prstGeom prst="rect">
            <a:avLst/>
          </a:prstGeom>
          <a:noFill/>
        </p:spPr>
        <p:txBody>
          <a:bodyPr wrap="square">
            <a:spAutoFit/>
          </a:bodyPr>
          <a:lstStyle/>
          <a:p>
            <a:pPr algn="ctr"/>
            <a:r>
              <a:rPr lang="en-GB" sz="2600" i="0" u="none" baseline="0" dirty="0">
                <a:solidFill>
                  <a:schemeClr val="tx1"/>
                </a:solidFill>
              </a:rPr>
              <a:t>1</a:t>
            </a:r>
            <a:endParaRPr lang="en-GB" sz="2600" dirty="0"/>
          </a:p>
        </p:txBody>
      </p:sp>
      <p:sp>
        <p:nvSpPr>
          <p:cNvPr id="11" name="Textfeld 10">
            <a:extLst>
              <a:ext uri="{FF2B5EF4-FFF2-40B4-BE49-F238E27FC236}">
                <a16:creationId xmlns:a16="http://schemas.microsoft.com/office/drawing/2014/main" id="{440EE002-4B69-87FC-507F-89631202D4D4}"/>
              </a:ext>
            </a:extLst>
          </p:cNvPr>
          <p:cNvSpPr txBox="1"/>
          <p:nvPr/>
        </p:nvSpPr>
        <p:spPr>
          <a:xfrm>
            <a:off x="9283766" y="5448885"/>
            <a:ext cx="475332" cy="492443"/>
          </a:xfrm>
          <a:prstGeom prst="rect">
            <a:avLst/>
          </a:prstGeom>
          <a:noFill/>
        </p:spPr>
        <p:txBody>
          <a:bodyPr wrap="square">
            <a:spAutoFit/>
          </a:bodyPr>
          <a:lstStyle/>
          <a:p>
            <a:pPr algn="ctr"/>
            <a:r>
              <a:rPr lang="en-GB" sz="2600" i="0" u="none" baseline="0" dirty="0">
                <a:solidFill>
                  <a:schemeClr val="tx1"/>
                </a:solidFill>
              </a:rPr>
              <a:t>5</a:t>
            </a:r>
            <a:endParaRPr lang="en-GB" sz="2600" dirty="0"/>
          </a:p>
        </p:txBody>
      </p:sp>
      <p:sp>
        <p:nvSpPr>
          <p:cNvPr id="7" name="Rechteck 10">
            <a:extLst>
              <a:ext uri="{FF2B5EF4-FFF2-40B4-BE49-F238E27FC236}">
                <a16:creationId xmlns:a16="http://schemas.microsoft.com/office/drawing/2014/main" id="{2CD7C58E-ED9B-E260-3050-EA669E9DB14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31911708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0F68F1-68CA-ADEE-CF64-C1974CB68317}"/>
              </a:ext>
            </a:extLst>
          </p:cNvPr>
          <p:cNvGraphicFramePr>
            <a:graphicFrameLocks noChangeAspect="1"/>
          </p:cNvGraphicFramePr>
          <p:nvPr>
            <p:custDataLst>
              <p:tags r:id="rId1"/>
            </p:custDataLst>
            <p:extLst>
              <p:ext uri="{D42A27DB-BD31-4B8C-83A1-F6EECF244321}">
                <p14:modId xmlns:p14="http://schemas.microsoft.com/office/powerpoint/2010/main" val="211840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790F68F1-68CA-ADEE-CF64-C1974CB683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t>Instructions for using </a:t>
            </a:r>
            <a:r>
              <a:rPr lang="en-GB" b="0" i="0" u="none" baseline="0" dirty="0" err="1"/>
              <a:t>Mentimeter</a:t>
            </a:r>
            <a:r>
              <a:rPr lang="en-GB" b="0" i="0" u="none" baseline="0" dirty="0"/>
              <a:t> for the rating (optional)</a:t>
            </a:r>
          </a:p>
        </p:txBody>
      </p:sp>
      <p:sp>
        <p:nvSpPr>
          <p:cNvPr id="3" name="Inhaltsplatzhalter 2"/>
          <p:cNvSpPr>
            <a:spLocks noGrp="1"/>
          </p:cNvSpPr>
          <p:nvPr>
            <p:ph idx="1"/>
          </p:nvPr>
        </p:nvSpPr>
        <p:spPr>
          <a:xfrm>
            <a:off x="727825" y="1160350"/>
            <a:ext cx="10296041" cy="5289861"/>
          </a:xfrm>
        </p:spPr>
        <p:txBody>
          <a:bodyPr vert="horz" lIns="0" tIns="0" rIns="0" bIns="0" rtlCol="0" anchor="t">
            <a:noAutofit/>
          </a:bodyPr>
          <a:lstStyle/>
          <a:p>
            <a:pPr marL="0" indent="0" algn="l" fontAlgn="base">
              <a:buNone/>
            </a:pPr>
            <a:r>
              <a:rPr lang="en-GB" sz="1600" b="0" i="0" u="none" baseline="0" dirty="0" err="1"/>
              <a:t>Mentimeter</a:t>
            </a:r>
            <a:r>
              <a:rPr lang="en-GB" sz="1600" b="0" i="0" u="none" baseline="0" dirty="0"/>
              <a:t> is an interactive presentation and polling tool that allows presenters to engage their audience through live polls, surveys, and quizzes. </a:t>
            </a:r>
            <a:endParaRPr lang="en-GB" sz="1600" dirty="0"/>
          </a:p>
          <a:p>
            <a:pPr algn="l">
              <a:buFont typeface="+mj-lt"/>
              <a:buAutoNum type="arabicPeriod"/>
            </a:pPr>
            <a:r>
              <a:rPr lang="en-US" sz="1600" b="1" i="0" dirty="0">
                <a:solidFill>
                  <a:srgbClr val="374151"/>
                </a:solidFill>
                <a:effectLst/>
              </a:rPr>
              <a:t>Set up </a:t>
            </a:r>
            <a:r>
              <a:rPr lang="en-US" sz="1600" b="1" dirty="0">
                <a:solidFill>
                  <a:srgbClr val="374151"/>
                </a:solidFill>
              </a:rPr>
              <a:t>y</a:t>
            </a:r>
            <a:r>
              <a:rPr lang="en-US" sz="1600" b="1" i="0" dirty="0">
                <a:solidFill>
                  <a:srgbClr val="374151"/>
                </a:solidFill>
                <a:effectLst/>
              </a:rPr>
              <a:t>our </a:t>
            </a:r>
            <a:r>
              <a:rPr lang="en-US" sz="1600" b="1" dirty="0" err="1">
                <a:solidFill>
                  <a:srgbClr val="374151"/>
                </a:solidFill>
              </a:rPr>
              <a:t>m</a:t>
            </a:r>
            <a:r>
              <a:rPr lang="en-US" sz="1600" b="1" i="0" dirty="0" err="1">
                <a:solidFill>
                  <a:srgbClr val="374151"/>
                </a:solidFill>
                <a:effectLst/>
              </a:rPr>
              <a:t>entimeter</a:t>
            </a:r>
            <a:r>
              <a:rPr lang="en-US" sz="1600" b="1" i="0" dirty="0">
                <a:solidFill>
                  <a:srgbClr val="374151"/>
                </a:solidFill>
                <a:effectLst/>
              </a:rPr>
              <a:t> </a:t>
            </a:r>
            <a:r>
              <a:rPr lang="en-US" sz="1600" b="1" dirty="0">
                <a:solidFill>
                  <a:srgbClr val="374151"/>
                </a:solidFill>
              </a:rPr>
              <a:t>p</a:t>
            </a:r>
            <a:r>
              <a:rPr lang="en-US" sz="1600" b="1" i="0" dirty="0">
                <a:solidFill>
                  <a:srgbClr val="374151"/>
                </a:solidFill>
                <a:effectLst/>
              </a:rPr>
              <a:t>resentation: </a:t>
            </a:r>
            <a:r>
              <a:rPr lang="en-US" sz="1600" b="0" i="0" dirty="0">
                <a:solidFill>
                  <a:srgbClr val="374151"/>
                </a:solidFill>
                <a:effectLst/>
              </a:rPr>
              <a:t>Log in to your </a:t>
            </a:r>
            <a:r>
              <a:rPr lang="en-US" sz="1600" b="0" i="0" dirty="0" err="1">
                <a:solidFill>
                  <a:srgbClr val="374151"/>
                </a:solidFill>
                <a:effectLst/>
              </a:rPr>
              <a:t>Mentimeter</a:t>
            </a:r>
            <a:r>
              <a:rPr lang="en-US" sz="1600" b="0" i="0" dirty="0">
                <a:solidFill>
                  <a:srgbClr val="374151"/>
                </a:solidFill>
                <a:effectLst/>
              </a:rPr>
              <a:t> account or </a:t>
            </a:r>
            <a:r>
              <a:rPr lang="en-US" sz="1600" b="0" i="0" dirty="0">
                <a:solidFill>
                  <a:srgbClr val="374151"/>
                </a:solidFill>
                <a:effectLst/>
                <a:hlinkClick r:id="rId6"/>
              </a:rPr>
              <a:t>sign up</a:t>
            </a:r>
            <a:r>
              <a:rPr lang="en-US" sz="1600" b="0" i="0" dirty="0">
                <a:solidFill>
                  <a:srgbClr val="374151"/>
                </a:solidFill>
                <a:effectLst/>
              </a:rPr>
              <a:t> if you don't have one and create a new presentation or use an existing one.</a:t>
            </a:r>
          </a:p>
          <a:p>
            <a:pPr algn="l">
              <a:buFont typeface="+mj-lt"/>
              <a:buAutoNum type="arabicPeriod"/>
            </a:pPr>
            <a:r>
              <a:rPr lang="en-US" sz="1600" b="1" i="0" dirty="0">
                <a:solidFill>
                  <a:srgbClr val="374151"/>
                </a:solidFill>
                <a:effectLst/>
              </a:rPr>
              <a:t>Add your </a:t>
            </a:r>
            <a:r>
              <a:rPr lang="en-US" sz="1600" b="1" dirty="0">
                <a:solidFill>
                  <a:srgbClr val="374151"/>
                </a:solidFill>
              </a:rPr>
              <a:t>s</a:t>
            </a:r>
            <a:r>
              <a:rPr lang="en-US" sz="1600" b="1" i="0" dirty="0">
                <a:solidFill>
                  <a:srgbClr val="374151"/>
                </a:solidFill>
                <a:effectLst/>
              </a:rPr>
              <a:t>tatements: </a:t>
            </a:r>
            <a:r>
              <a:rPr lang="en-US" sz="1600" b="0" i="0" dirty="0">
                <a:solidFill>
                  <a:srgbClr val="374151"/>
                </a:solidFill>
                <a:effectLst/>
              </a:rPr>
              <a:t>In your </a:t>
            </a:r>
            <a:r>
              <a:rPr lang="en-US" sz="1600" b="0" i="0" dirty="0" err="1">
                <a:solidFill>
                  <a:srgbClr val="374151"/>
                </a:solidFill>
                <a:effectLst/>
              </a:rPr>
              <a:t>Mentimeter</a:t>
            </a:r>
            <a:r>
              <a:rPr lang="en-US" sz="1600" b="0" i="0" dirty="0">
                <a:solidFill>
                  <a:srgbClr val="374151"/>
                </a:solidFill>
                <a:effectLst/>
              </a:rPr>
              <a:t> presentation, create a slide and add each statement you want your team to rate. </a:t>
            </a:r>
          </a:p>
          <a:p>
            <a:pPr algn="l">
              <a:buFont typeface="+mj-lt"/>
              <a:buAutoNum type="arabicPeriod"/>
            </a:pPr>
            <a:r>
              <a:rPr lang="en-US" sz="1600" b="1" i="0" dirty="0">
                <a:solidFill>
                  <a:srgbClr val="374151"/>
                </a:solidFill>
                <a:effectLst/>
              </a:rPr>
              <a:t>Design your </a:t>
            </a:r>
            <a:r>
              <a:rPr lang="en-US" sz="1600" b="1" dirty="0">
                <a:solidFill>
                  <a:srgbClr val="374151"/>
                </a:solidFill>
              </a:rPr>
              <a:t>r</a:t>
            </a:r>
            <a:r>
              <a:rPr lang="en-US" sz="1600" b="1" i="0" dirty="0">
                <a:solidFill>
                  <a:srgbClr val="374151"/>
                </a:solidFill>
                <a:effectLst/>
              </a:rPr>
              <a:t>ating </a:t>
            </a:r>
            <a:r>
              <a:rPr lang="en-US" sz="1600" b="1" dirty="0">
                <a:solidFill>
                  <a:srgbClr val="374151"/>
                </a:solidFill>
              </a:rPr>
              <a:t>s</a:t>
            </a:r>
            <a:r>
              <a:rPr lang="en-US" sz="1600" b="1" i="0" dirty="0">
                <a:solidFill>
                  <a:srgbClr val="374151"/>
                </a:solidFill>
                <a:effectLst/>
              </a:rPr>
              <a:t>cale: </a:t>
            </a:r>
            <a:r>
              <a:rPr lang="en-US" sz="1600" b="0" i="0" dirty="0">
                <a:solidFill>
                  <a:srgbClr val="374151"/>
                </a:solidFill>
                <a:effectLst/>
              </a:rPr>
              <a:t>On each slide, add the statement you want to rate. Below the statement, create a scale from 1 to 5, with 1 representing "Strongly Disagree" and 5 representing "Strongly Agree."</a:t>
            </a:r>
          </a:p>
          <a:p>
            <a:pPr algn="l">
              <a:buFont typeface="+mj-lt"/>
              <a:buAutoNum type="arabicPeriod"/>
            </a:pPr>
            <a:r>
              <a:rPr lang="en-US" sz="1600" b="1" i="0" dirty="0">
                <a:solidFill>
                  <a:srgbClr val="374151"/>
                </a:solidFill>
                <a:effectLst/>
              </a:rPr>
              <a:t>Start the presentation and share the presentation </a:t>
            </a:r>
            <a:r>
              <a:rPr lang="en-US" sz="1600" b="1" dirty="0">
                <a:solidFill>
                  <a:srgbClr val="374151"/>
                </a:solidFill>
              </a:rPr>
              <a:t>l</a:t>
            </a:r>
            <a:r>
              <a:rPr lang="en-US" sz="1600" b="1" i="0" dirty="0">
                <a:solidFill>
                  <a:srgbClr val="374151"/>
                </a:solidFill>
                <a:effectLst/>
              </a:rPr>
              <a:t>ink: </a:t>
            </a:r>
            <a:r>
              <a:rPr lang="en-US" sz="1600" b="0" i="0" dirty="0">
                <a:solidFill>
                  <a:srgbClr val="374151"/>
                </a:solidFill>
                <a:effectLst/>
              </a:rPr>
              <a:t>Share the link to your </a:t>
            </a:r>
            <a:r>
              <a:rPr lang="en-US" sz="1600" b="0" i="0" dirty="0" err="1">
                <a:solidFill>
                  <a:srgbClr val="374151"/>
                </a:solidFill>
                <a:effectLst/>
              </a:rPr>
              <a:t>Mentimeter</a:t>
            </a:r>
            <a:r>
              <a:rPr lang="en-US" sz="1600" b="0" i="0" dirty="0">
                <a:solidFill>
                  <a:srgbClr val="374151"/>
                </a:solidFill>
                <a:effectLst/>
              </a:rPr>
              <a:t> presentation with your team. They can access the presentation on their devices (smartphones, tablets, laptops).</a:t>
            </a:r>
          </a:p>
          <a:p>
            <a:pPr algn="l">
              <a:buFont typeface="+mj-lt"/>
              <a:buAutoNum type="arabicPeriod"/>
            </a:pPr>
            <a:r>
              <a:rPr lang="en-US" sz="1600" b="1" i="0" dirty="0">
                <a:solidFill>
                  <a:srgbClr val="374151"/>
                </a:solidFill>
                <a:effectLst/>
              </a:rPr>
              <a:t>Rate the statements: </a:t>
            </a:r>
            <a:r>
              <a:rPr lang="en-US" sz="1600" b="0" i="0" dirty="0">
                <a:solidFill>
                  <a:srgbClr val="374151"/>
                </a:solidFill>
                <a:effectLst/>
              </a:rPr>
              <a:t>Instruct your team to click on the provided link, which will take them to the </a:t>
            </a:r>
            <a:r>
              <a:rPr lang="en-US" sz="1600" b="0" i="0" dirty="0" err="1">
                <a:solidFill>
                  <a:srgbClr val="374151"/>
                </a:solidFill>
                <a:effectLst/>
              </a:rPr>
              <a:t>Mentimeter</a:t>
            </a:r>
            <a:r>
              <a:rPr lang="en-US" sz="1600" b="0" i="0" dirty="0">
                <a:solidFill>
                  <a:srgbClr val="374151"/>
                </a:solidFill>
                <a:effectLst/>
              </a:rPr>
              <a:t> presentation. Ask them to go through each statement, one by one, and rate them on the 1-5 scale.</a:t>
            </a:r>
          </a:p>
          <a:p>
            <a:pPr algn="l">
              <a:buFont typeface="+mj-lt"/>
              <a:buAutoNum type="arabicPeriod"/>
            </a:pPr>
            <a:r>
              <a:rPr lang="en-US" sz="1600" b="1" i="0" dirty="0">
                <a:solidFill>
                  <a:srgbClr val="374151"/>
                </a:solidFill>
                <a:effectLst/>
              </a:rPr>
              <a:t>Collect and analyze responses: </a:t>
            </a:r>
            <a:r>
              <a:rPr lang="en-US" sz="1600" b="0" i="0" dirty="0">
                <a:solidFill>
                  <a:srgbClr val="374151"/>
                </a:solidFill>
                <a:effectLst/>
              </a:rPr>
              <a:t>Once all team members have rated the statements, you can stop the presentation and access the results in </a:t>
            </a:r>
            <a:r>
              <a:rPr lang="en-US" sz="1600" b="0" i="0" dirty="0" err="1">
                <a:solidFill>
                  <a:srgbClr val="374151"/>
                </a:solidFill>
                <a:effectLst/>
              </a:rPr>
              <a:t>Mentimeter</a:t>
            </a:r>
            <a:r>
              <a:rPr lang="en-US" sz="1600" b="0" i="0" dirty="0">
                <a:solidFill>
                  <a:srgbClr val="374151"/>
                </a:solidFill>
                <a:effectLst/>
              </a:rPr>
              <a:t>. You'll be able to see an aggregate of the ratings and analyze the responses..</a:t>
            </a:r>
          </a:p>
          <a:p>
            <a:pPr marL="0" indent="0" algn="l" fontAlgn="base">
              <a:buNone/>
            </a:pPr>
            <a:endParaRPr lang="en-GB" sz="1600" b="0" i="0" u="none" baseline="0" dirty="0"/>
          </a:p>
          <a:p>
            <a:pPr marL="0" indent="0" algn="l" fontAlgn="base">
              <a:buNone/>
            </a:pPr>
            <a:endParaRPr lang="en-GB" sz="1600" dirty="0">
              <a:cs typeface="Arial"/>
            </a:endParaRPr>
          </a:p>
          <a:p>
            <a:pPr marL="0" indent="0" algn="l" fontAlgn="base">
              <a:buNone/>
            </a:pPr>
            <a:endParaRPr lang="en-GB" sz="1600" dirty="0">
              <a:cs typeface="Arial"/>
            </a:endParaRPr>
          </a:p>
        </p:txBody>
      </p:sp>
      <p:sp>
        <p:nvSpPr>
          <p:cNvPr id="4" name="Datumsplatzhalter 3"/>
          <p:cNvSpPr>
            <a:spLocks noGrp="1"/>
          </p:cNvSpPr>
          <p:nvPr>
            <p:ph type="dt" sz="half" idx="10"/>
          </p:nvPr>
        </p:nvSpPr>
        <p:spPr/>
        <p:txBody>
          <a:bodyPr/>
          <a:lstStyle/>
          <a:p>
            <a:pPr algn="l"/>
            <a:fld id="{C51FFF58-ADE8-47E6-B236-823B3682F364}"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en-GB" b="0" i="0" u="none" baseline="0" dirty="0">
                <a:latin typeface="+mn-lt"/>
                <a:ea typeface="+mn-lt"/>
                <a:cs typeface="+mn-lt"/>
              </a:rPr>
              <a:t>Developing a team consensus and shaping the future of work together</a:t>
            </a:r>
            <a:endParaRPr lang="en-GB"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4</a:t>
            </a:fld>
            <a:endParaRPr lang="en-GB"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2179413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DFCCEE-8338-B7E3-4737-914D17E02297}"/>
              </a:ext>
            </a:extLst>
          </p:cNvPr>
          <p:cNvGraphicFramePr>
            <a:graphicFrameLocks noChangeAspect="1"/>
          </p:cNvGraphicFramePr>
          <p:nvPr>
            <p:custDataLst>
              <p:tags r:id="rId1"/>
            </p:custDataLst>
            <p:extLst>
              <p:ext uri="{D42A27DB-BD31-4B8C-83A1-F6EECF244321}">
                <p14:modId xmlns:p14="http://schemas.microsoft.com/office/powerpoint/2010/main" val="380040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7DFCCEE-8338-B7E3-4737-914D17E02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D164694-0894-5683-F43E-332E0F82F468}"/>
              </a:ext>
            </a:extLst>
          </p:cNvPr>
          <p:cNvSpPr>
            <a:spLocks noGrp="1"/>
          </p:cNvSpPr>
          <p:nvPr>
            <p:ph idx="1"/>
          </p:nvPr>
        </p:nvSpPr>
        <p:spPr>
          <a:xfrm>
            <a:off x="731837" y="304800"/>
            <a:ext cx="10728325" cy="5788075"/>
          </a:xfrm>
        </p:spPr>
        <p:txBody>
          <a:bodyPr/>
          <a:lstStyle/>
          <a:p>
            <a:pPr marL="0" lvl="0" indent="0" algn="l">
              <a:buNone/>
            </a:pPr>
            <a:r>
              <a:rPr lang="en-GB" sz="1800" b="0" i="0" u="none" baseline="0" dirty="0">
                <a:solidFill>
                  <a:schemeClr val="tx1"/>
                </a:solidFill>
              </a:rPr>
              <a:t>We actively promote innovation and creativity in our work processes.</a:t>
            </a: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r>
              <a:rPr lang="en-GB" sz="1800" b="0" i="0" u="none" baseline="0" dirty="0">
                <a:solidFill>
                  <a:schemeClr val="tx1"/>
                </a:solidFill>
              </a:rPr>
              <a:t>We effectively utilize communication, planning, and documentation tools in our (hybrid) work environment.</a:t>
            </a: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r>
              <a:rPr lang="en-GB" sz="1800" b="0" i="0" u="none" baseline="0" dirty="0">
                <a:solidFill>
                  <a:schemeClr val="tx1"/>
                </a:solidFill>
              </a:rPr>
              <a:t>We have mechanisms in place to facilitate continuous learning from each other.</a:t>
            </a: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endParaRPr lang="en-GB" sz="1800" b="0" i="0" u="none" baseline="0" dirty="0">
              <a:solidFill>
                <a:schemeClr val="tx1"/>
              </a:solidFill>
            </a:endParaRPr>
          </a:p>
          <a:p>
            <a:pPr marL="0" lvl="0" indent="0" algn="l">
              <a:buNone/>
            </a:pPr>
            <a:r>
              <a:rPr lang="en-GB" sz="1800" b="0" i="0" u="none" baseline="0" dirty="0">
                <a:solidFill>
                  <a:schemeClr val="tx1"/>
                </a:solidFill>
              </a:rPr>
              <a:t>We have a clear plan for onboarding new team members in our (hybrid) work environment.</a:t>
            </a:r>
          </a:p>
          <a:p>
            <a:endParaRPr lang="en-GB" dirty="0"/>
          </a:p>
        </p:txBody>
      </p:sp>
      <p:sp>
        <p:nvSpPr>
          <p:cNvPr id="4" name="Date Placeholder 3">
            <a:extLst>
              <a:ext uri="{FF2B5EF4-FFF2-40B4-BE49-F238E27FC236}">
                <a16:creationId xmlns:a16="http://schemas.microsoft.com/office/drawing/2014/main" id="{503B1E74-5023-4D15-B036-C90C46C67203}"/>
              </a:ext>
            </a:extLst>
          </p:cNvPr>
          <p:cNvSpPr>
            <a:spLocks noGrp="1"/>
          </p:cNvSpPr>
          <p:nvPr>
            <p:ph type="dt" sz="half" idx="10"/>
          </p:nvPr>
        </p:nvSpPr>
        <p:spPr/>
        <p:txBody>
          <a:bodyPr/>
          <a:lstStyle/>
          <a:p>
            <a:fld id="{B794E8DC-67B9-4E12-B5A0-E7A5705176CE}" type="datetime1">
              <a:rPr lang="en-GB" smtClean="0"/>
              <a:pPr/>
              <a:t>29/02/2024</a:t>
            </a:fld>
            <a:endParaRPr lang="en-GB" dirty="0"/>
          </a:p>
        </p:txBody>
      </p:sp>
      <p:sp>
        <p:nvSpPr>
          <p:cNvPr id="5" name="Footer Placeholder 4">
            <a:extLst>
              <a:ext uri="{FF2B5EF4-FFF2-40B4-BE49-F238E27FC236}">
                <a16:creationId xmlns:a16="http://schemas.microsoft.com/office/drawing/2014/main" id="{985DE3C5-74AD-C105-2AAE-E8BA874F5D40}"/>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Slide Number Placeholder 5">
            <a:extLst>
              <a:ext uri="{FF2B5EF4-FFF2-40B4-BE49-F238E27FC236}">
                <a16:creationId xmlns:a16="http://schemas.microsoft.com/office/drawing/2014/main" id="{E5170B01-4FDA-7FC8-A45E-4C6ED2C6E843}"/>
              </a:ext>
            </a:extLst>
          </p:cNvPr>
          <p:cNvSpPr>
            <a:spLocks noGrp="1"/>
          </p:cNvSpPr>
          <p:nvPr>
            <p:ph type="sldNum" sz="quarter" idx="12"/>
          </p:nvPr>
        </p:nvSpPr>
        <p:spPr/>
        <p:txBody>
          <a:bodyPr/>
          <a:lstStyle/>
          <a:p>
            <a:fld id="{5ACA52AF-F19D-405C-AD5F-7D94B96A5CC3}" type="slidenum">
              <a:rPr lang="en-GB" smtClean="0"/>
              <a:pPr/>
              <a:t>25</a:t>
            </a:fld>
            <a:endParaRPr lang="en-GB" dirty="0"/>
          </a:p>
        </p:txBody>
      </p:sp>
      <p:pic>
        <p:nvPicPr>
          <p:cNvPr id="8" name="Picture 7">
            <a:extLst>
              <a:ext uri="{FF2B5EF4-FFF2-40B4-BE49-F238E27FC236}">
                <a16:creationId xmlns:a16="http://schemas.microsoft.com/office/drawing/2014/main" id="{B0E83C3F-F117-A442-BB56-10B4AA6B60B9}"/>
              </a:ext>
            </a:extLst>
          </p:cNvPr>
          <p:cNvPicPr>
            <a:picLocks noChangeAspect="1"/>
          </p:cNvPicPr>
          <p:nvPr/>
        </p:nvPicPr>
        <p:blipFill rotWithShape="1">
          <a:blip r:embed="rId6"/>
          <a:srcRect r="6946" b="14451"/>
          <a:stretch/>
        </p:blipFill>
        <p:spPr>
          <a:xfrm>
            <a:off x="731831" y="802287"/>
            <a:ext cx="7945341" cy="276117"/>
          </a:xfrm>
          <a:prstGeom prst="rect">
            <a:avLst/>
          </a:prstGeom>
        </p:spPr>
      </p:pic>
      <p:pic>
        <p:nvPicPr>
          <p:cNvPr id="9" name="Picture 8">
            <a:extLst>
              <a:ext uri="{FF2B5EF4-FFF2-40B4-BE49-F238E27FC236}">
                <a16:creationId xmlns:a16="http://schemas.microsoft.com/office/drawing/2014/main" id="{28D595F2-B342-6C4E-C5AB-A9D1931F70B5}"/>
              </a:ext>
            </a:extLst>
          </p:cNvPr>
          <p:cNvPicPr>
            <a:picLocks noChangeAspect="1"/>
          </p:cNvPicPr>
          <p:nvPr/>
        </p:nvPicPr>
        <p:blipFill rotWithShape="1">
          <a:blip r:embed="rId6"/>
          <a:srcRect r="6946" b="14451"/>
          <a:stretch/>
        </p:blipFill>
        <p:spPr>
          <a:xfrm>
            <a:off x="731831" y="2419135"/>
            <a:ext cx="7945341" cy="276117"/>
          </a:xfrm>
          <a:prstGeom prst="rect">
            <a:avLst/>
          </a:prstGeom>
        </p:spPr>
      </p:pic>
      <p:pic>
        <p:nvPicPr>
          <p:cNvPr id="10" name="Picture 9">
            <a:extLst>
              <a:ext uri="{FF2B5EF4-FFF2-40B4-BE49-F238E27FC236}">
                <a16:creationId xmlns:a16="http://schemas.microsoft.com/office/drawing/2014/main" id="{8FDE1D01-1031-955B-7856-DDEAB04EDE5C}"/>
              </a:ext>
            </a:extLst>
          </p:cNvPr>
          <p:cNvPicPr>
            <a:picLocks noChangeAspect="1"/>
          </p:cNvPicPr>
          <p:nvPr/>
        </p:nvPicPr>
        <p:blipFill rotWithShape="1">
          <a:blip r:embed="rId6"/>
          <a:srcRect r="6946" b="14451"/>
          <a:stretch/>
        </p:blipFill>
        <p:spPr>
          <a:xfrm>
            <a:off x="731833" y="5721380"/>
            <a:ext cx="7945341" cy="276117"/>
          </a:xfrm>
          <a:prstGeom prst="rect">
            <a:avLst/>
          </a:prstGeom>
        </p:spPr>
      </p:pic>
      <p:pic>
        <p:nvPicPr>
          <p:cNvPr id="11" name="Picture 10">
            <a:extLst>
              <a:ext uri="{FF2B5EF4-FFF2-40B4-BE49-F238E27FC236}">
                <a16:creationId xmlns:a16="http://schemas.microsoft.com/office/drawing/2014/main" id="{933878ED-61B2-D6A9-78BA-375B6BCF4451}"/>
              </a:ext>
            </a:extLst>
          </p:cNvPr>
          <p:cNvPicPr>
            <a:picLocks noChangeAspect="1"/>
          </p:cNvPicPr>
          <p:nvPr/>
        </p:nvPicPr>
        <p:blipFill rotWithShape="1">
          <a:blip r:embed="rId6"/>
          <a:srcRect r="6946" b="14451"/>
          <a:stretch/>
        </p:blipFill>
        <p:spPr>
          <a:xfrm>
            <a:off x="731832" y="3937040"/>
            <a:ext cx="7945341" cy="276117"/>
          </a:xfrm>
          <a:prstGeom prst="rect">
            <a:avLst/>
          </a:prstGeom>
        </p:spPr>
      </p:pic>
      <p:sp>
        <p:nvSpPr>
          <p:cNvPr id="2" name="Rechteck 10">
            <a:extLst>
              <a:ext uri="{FF2B5EF4-FFF2-40B4-BE49-F238E27FC236}">
                <a16:creationId xmlns:a16="http://schemas.microsoft.com/office/drawing/2014/main" id="{E2099240-0FD3-72C3-C0A8-4DB11739173D}"/>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645604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748596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sz="2800" b="0" i="0" u="none" kern="1200" baseline="0" dirty="0">
                <a:effectLst/>
              </a:rPr>
              <a:t>Goal attainment – open discussion</a:t>
            </a:r>
            <a:endParaRPr lang="en-GB" b="1" i="0" u="none" baseline="0" dirty="0"/>
          </a:p>
        </p:txBody>
      </p:sp>
      <p:sp>
        <p:nvSpPr>
          <p:cNvPr id="4" name="Datumsplatzhalter 3"/>
          <p:cNvSpPr>
            <a:spLocks noGrp="1"/>
          </p:cNvSpPr>
          <p:nvPr>
            <p:ph type="dt" sz="half" idx="10"/>
          </p:nvPr>
        </p:nvSpPr>
        <p:spPr/>
        <p:txBody>
          <a:bodyPr/>
          <a:lstStyle/>
          <a:p>
            <a:pPr algn="l"/>
            <a:fld id="{CC41A848-143F-4F03-AAF5-F02A255097CD}" type="datetime1">
              <a:rPr lang="en-GB" smtClean="0"/>
              <a:pPr algn="l"/>
              <a:t>29/02/2024</a:t>
            </a:fld>
            <a:endParaRPr lang="en-GB"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6</a:t>
            </a:fld>
            <a:endParaRPr lang="en-GB" noProof="0" dirty="0"/>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
        <p:nvSpPr>
          <p:cNvPr id="19" name="Arrow: Pentagon 18">
            <a:extLst>
              <a:ext uri="{FF2B5EF4-FFF2-40B4-BE49-F238E27FC236}">
                <a16:creationId xmlns:a16="http://schemas.microsoft.com/office/drawing/2014/main" id="{A0AA57D8-6525-B82E-1C62-1D086A2C61F0}"/>
              </a:ext>
            </a:extLst>
          </p:cNvPr>
          <p:cNvSpPr/>
          <p:nvPr/>
        </p:nvSpPr>
        <p:spPr>
          <a:xfrm>
            <a:off x="4871700" y="2607865"/>
            <a:ext cx="1921084"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latin typeface="Arial"/>
                <a:ea typeface="Arial"/>
                <a:cs typeface="Arial"/>
              </a:rPr>
              <a:t>Shaping the future</a:t>
            </a:r>
            <a:r>
              <a:rPr lang="en-GB" b="0" i="0" u="none" baseline="0">
                <a:solidFill>
                  <a:schemeClr val="tx1"/>
                </a:solidFill>
                <a:latin typeface="Arial"/>
                <a:ea typeface="Arial"/>
                <a:cs typeface="Arial"/>
              </a:rPr>
              <a:t> - How would we like it to be?</a:t>
            </a:r>
            <a:endParaRPr lang="en-GB" b="0" i="0" u="none" baseline="0" dirty="0">
              <a:solidFill>
                <a:schemeClr val="tx1"/>
              </a:solidFill>
              <a:latin typeface="Arial"/>
              <a:ea typeface="Arial"/>
              <a:cs typeface="Arial"/>
            </a:endParaRPr>
          </a:p>
        </p:txBody>
      </p:sp>
      <p:sp>
        <p:nvSpPr>
          <p:cNvPr id="20" name="Arrow: Pentagon 19">
            <a:extLst>
              <a:ext uri="{FF2B5EF4-FFF2-40B4-BE49-F238E27FC236}">
                <a16:creationId xmlns:a16="http://schemas.microsoft.com/office/drawing/2014/main" id="{CF7B0E3C-915D-6129-4612-FFB31E8E9DE1}"/>
              </a:ext>
            </a:extLst>
          </p:cNvPr>
          <p:cNvSpPr/>
          <p:nvPr/>
        </p:nvSpPr>
        <p:spPr>
          <a:xfrm>
            <a:off x="1611333" y="2607865"/>
            <a:ext cx="1921084"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rPr>
              <a:t>Review</a:t>
            </a:r>
            <a:r>
              <a:rPr lang="en-GB" b="0" i="0" u="none" baseline="0">
                <a:solidFill>
                  <a:schemeClr val="tx1"/>
                </a:solidFill>
              </a:rPr>
              <a:t> - How have things been working out so far?</a:t>
            </a:r>
            <a:endParaRPr lang="en-GB" b="0" i="0" u="none" baseline="0" dirty="0">
              <a:solidFill>
                <a:schemeClr val="tx1"/>
              </a:solidFill>
              <a:latin typeface="Arial"/>
              <a:ea typeface="Arial"/>
              <a:cs typeface="Arial"/>
            </a:endParaRPr>
          </a:p>
        </p:txBody>
      </p:sp>
      <p:sp>
        <p:nvSpPr>
          <p:cNvPr id="24" name="Arrow: Pentagon 23">
            <a:extLst>
              <a:ext uri="{FF2B5EF4-FFF2-40B4-BE49-F238E27FC236}">
                <a16:creationId xmlns:a16="http://schemas.microsoft.com/office/drawing/2014/main" id="{75D38813-0E3F-5E16-F430-0CD6F710989C}"/>
              </a:ext>
            </a:extLst>
          </p:cNvPr>
          <p:cNvSpPr/>
          <p:nvPr/>
        </p:nvSpPr>
        <p:spPr>
          <a:xfrm>
            <a:off x="7964278" y="2607865"/>
            <a:ext cx="1921084" cy="1496786"/>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i="0" u="none" baseline="0">
                <a:solidFill>
                  <a:schemeClr val="tx1"/>
                </a:solidFill>
                <a:latin typeface="Arial"/>
                <a:ea typeface="Arial"/>
                <a:cs typeface="Arial"/>
              </a:rPr>
              <a:t>Action - </a:t>
            </a:r>
            <a:r>
              <a:rPr lang="en-GB" i="0" u="none" baseline="0">
                <a:solidFill>
                  <a:schemeClr val="tx1"/>
                </a:solidFill>
                <a:latin typeface="Arial"/>
                <a:ea typeface="Arial"/>
                <a:cs typeface="Arial"/>
              </a:rPr>
              <a:t>What are we going to do about it?</a:t>
            </a:r>
            <a:endParaRPr lang="en-GB" i="0" u="none" baseline="0" dirty="0">
              <a:solidFill>
                <a:schemeClr val="tx1"/>
              </a:solidFill>
              <a:latin typeface="Arial"/>
              <a:ea typeface="Arial"/>
              <a:cs typeface="Arial"/>
            </a:endParaRPr>
          </a:p>
        </p:txBody>
      </p:sp>
      <p:pic>
        <p:nvPicPr>
          <p:cNvPr id="26" name="Graphic 25" descr="Drawing Figure outline">
            <a:extLst>
              <a:ext uri="{FF2B5EF4-FFF2-40B4-BE49-F238E27FC236}">
                <a16:creationId xmlns:a16="http://schemas.microsoft.com/office/drawing/2014/main" id="{31E44439-1382-DDF9-F549-7C738C452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77287" y="4142751"/>
            <a:ext cx="914400" cy="914400"/>
          </a:xfrm>
          <a:prstGeom prst="rect">
            <a:avLst/>
          </a:prstGeom>
        </p:spPr>
      </p:pic>
      <p:sp>
        <p:nvSpPr>
          <p:cNvPr id="3" name="Inhaltsplatzhalter 2">
            <a:extLst>
              <a:ext uri="{FF2B5EF4-FFF2-40B4-BE49-F238E27FC236}">
                <a16:creationId xmlns:a16="http://schemas.microsoft.com/office/drawing/2014/main" id="{DA9D408E-409A-09DE-FA88-268F95DF1BEC}"/>
              </a:ext>
            </a:extLst>
          </p:cNvPr>
          <p:cNvSpPr>
            <a:spLocks noGrp="1"/>
          </p:cNvSpPr>
          <p:nvPr>
            <p:ph idx="1"/>
          </p:nvPr>
        </p:nvSpPr>
        <p:spPr>
          <a:xfrm>
            <a:off x="764682" y="1189530"/>
            <a:ext cx="10905687" cy="4680000"/>
          </a:xfrm>
        </p:spPr>
        <p:txBody>
          <a:bodyPr vert="horz" lIns="0" tIns="0" rIns="0" bIns="0" rtlCol="0" anchor="t">
            <a:noAutofit/>
          </a:bodyPr>
          <a:lstStyle/>
          <a:p>
            <a:pPr marL="0" indent="0" algn="l">
              <a:buNone/>
            </a:pPr>
            <a:r>
              <a:rPr lang="en-GB" i="0" u="none" baseline="0"/>
              <a:t>Openly discuss the results of your rating within the team while keeping in mind the following perspectives</a:t>
            </a:r>
            <a:r>
              <a:rPr lang="en-GB" sz="1800" i="0" u="none" kern="1200" baseline="0">
                <a:effectLst/>
              </a:rPr>
              <a:t> </a:t>
            </a:r>
            <a:r>
              <a:rPr lang="en-GB" sz="1800" i="0" u="none" kern="1200" baseline="0" dirty="0">
                <a:effectLst/>
              </a:rPr>
              <a:t>(25 </a:t>
            </a:r>
            <a:r>
              <a:rPr lang="en-GB" sz="1800" i="0" u="none" kern="1200" baseline="0">
                <a:effectLst/>
              </a:rPr>
              <a:t>minutes)</a:t>
            </a:r>
            <a:r>
              <a:rPr lang="en-GB" i="0" u="none" baseline="0"/>
              <a:t>… </a:t>
            </a:r>
          </a:p>
          <a:p>
            <a:pPr marL="0" indent="0" algn="l">
              <a:buNone/>
            </a:pPr>
            <a:endParaRPr lang="en-GB" i="0" u="none" baseline="0"/>
          </a:p>
          <a:p>
            <a:pPr marL="0" indent="0" algn="l">
              <a:buNone/>
            </a:pPr>
            <a:endParaRPr lang="en-GB"/>
          </a:p>
          <a:p>
            <a:pPr marL="0" indent="0" algn="l">
              <a:buNone/>
            </a:pPr>
            <a:endParaRPr lang="en-GB" i="0" u="none" baseline="0"/>
          </a:p>
          <a:p>
            <a:pPr marL="0" indent="0" algn="l">
              <a:buNone/>
            </a:pPr>
            <a:endParaRPr lang="en-GB"/>
          </a:p>
          <a:p>
            <a:pPr marL="0" indent="0" algn="l">
              <a:buNone/>
            </a:pPr>
            <a:endParaRPr lang="en-GB" i="0" u="none" baseline="0"/>
          </a:p>
          <a:p>
            <a:pPr marL="0" indent="0" algn="l">
              <a:buNone/>
            </a:pPr>
            <a:endParaRPr lang="en-GB"/>
          </a:p>
          <a:p>
            <a:pPr marL="0" indent="0" algn="l">
              <a:buNone/>
            </a:pPr>
            <a:endParaRPr lang="en-GB" i="0" u="none" baseline="0"/>
          </a:p>
          <a:p>
            <a:pPr marL="0" indent="0" algn="l">
              <a:buNone/>
            </a:pPr>
            <a:endParaRPr lang="en-GB"/>
          </a:p>
          <a:p>
            <a:pPr marL="0" indent="0" algn="l">
              <a:buNone/>
            </a:pPr>
            <a:endParaRPr lang="en-GB"/>
          </a:p>
          <a:p>
            <a:pPr marL="0" indent="0" algn="l">
              <a:buNone/>
            </a:pPr>
            <a:r>
              <a:rPr lang="en-GB" i="0" u="none" baseline="0"/>
              <a:t>Please take notes on the flipcharts.</a:t>
            </a:r>
            <a:endParaRPr lang="en-GB" dirty="0">
              <a:cs typeface="Arial"/>
            </a:endParaRPr>
          </a:p>
        </p:txBody>
      </p:sp>
    </p:spTree>
    <p:extLst>
      <p:ext uri="{BB962C8B-B14F-4D97-AF65-F5344CB8AC3E}">
        <p14:creationId xmlns:p14="http://schemas.microsoft.com/office/powerpoint/2010/main" val="3420152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CDCEE2-AAC6-003F-0A1F-30A6BCABF5A5}"/>
              </a:ext>
            </a:extLst>
          </p:cNvPr>
          <p:cNvGraphicFramePr>
            <a:graphicFrameLocks noChangeAspect="1"/>
          </p:cNvGraphicFramePr>
          <p:nvPr>
            <p:custDataLst>
              <p:tags r:id="rId1"/>
            </p:custDataLst>
            <p:extLst>
              <p:ext uri="{D42A27DB-BD31-4B8C-83A1-F6EECF244321}">
                <p14:modId xmlns:p14="http://schemas.microsoft.com/office/powerpoint/2010/main" val="23101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3CDCEE2-AAC6-003F-0A1F-30A6BCABF5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Inhaltsplatzhalter 7" descr="Picture containing the colours orange and blue.&#10;&#10;Automatically generated description">
            <a:extLst>
              <a:ext uri="{FF2B5EF4-FFF2-40B4-BE49-F238E27FC236}">
                <a16:creationId xmlns:a16="http://schemas.microsoft.com/office/drawing/2014/main" id="{37EC6C76-028C-49DD-AE90-D9B65D73DBF5}"/>
              </a:ext>
            </a:extLst>
          </p:cNvPr>
          <p:cNvPicPr>
            <a:picLocks noGrp="1" noChangeAspect="1"/>
          </p:cNvPicPr>
          <p:nvPr>
            <p:ph idx="1"/>
          </p:nvPr>
        </p:nvPicPr>
        <p:blipFill rotWithShape="1">
          <a:blip r:embed="rId6"/>
          <a:srcRect l="6527" t="34994" b="25916"/>
          <a:stretch/>
        </p:blipFill>
        <p:spPr>
          <a:xfrm>
            <a:off x="0" y="-789834"/>
            <a:ext cx="12191999" cy="7647834"/>
          </a:xfrm>
        </p:spPr>
      </p:pic>
      <p:sp>
        <p:nvSpPr>
          <p:cNvPr id="2" name="Titel 1">
            <a:extLst>
              <a:ext uri="{FF2B5EF4-FFF2-40B4-BE49-F238E27FC236}">
                <a16:creationId xmlns:a16="http://schemas.microsoft.com/office/drawing/2014/main" id="{16DDB4A8-8E54-4562-8121-37460FF81563}"/>
              </a:ext>
            </a:extLst>
          </p:cNvPr>
          <p:cNvSpPr>
            <a:spLocks noGrp="1"/>
          </p:cNvSpPr>
          <p:nvPr>
            <p:ph type="title"/>
          </p:nvPr>
        </p:nvSpPr>
        <p:spPr>
          <a:xfrm rot="1012755">
            <a:off x="1350945" y="102696"/>
            <a:ext cx="10728325" cy="900000"/>
          </a:xfrm>
        </p:spPr>
        <p:txBody>
          <a:bodyPr vert="horz"/>
          <a:lstStyle/>
          <a:p>
            <a:pPr algn="ctr"/>
            <a:br>
              <a:rPr lang="en-GB" sz="7000" dirty="0">
                <a:effectLst>
                  <a:outerShdw blurRad="38100" dist="38100" dir="2700000" algn="tl">
                    <a:srgbClr val="000000">
                      <a:alpha val="43137"/>
                    </a:srgbClr>
                  </a:outerShdw>
                </a:effectLst>
              </a:rPr>
            </a:br>
            <a:br>
              <a:rPr lang="en-GB" sz="7000" dirty="0">
                <a:effectLst>
                  <a:outerShdw blurRad="38100" dist="38100" dir="2700000" algn="tl">
                    <a:srgbClr val="000000">
                      <a:alpha val="43137"/>
                    </a:srgbClr>
                  </a:outerShdw>
                </a:effectLst>
              </a:rPr>
            </a:br>
            <a:br>
              <a:rPr lang="en-GB" sz="7000" dirty="0">
                <a:effectLst>
                  <a:outerShdw blurRad="38100" dist="38100" dir="2700000" algn="tl">
                    <a:srgbClr val="000000">
                      <a:alpha val="43137"/>
                    </a:srgbClr>
                  </a:outerShdw>
                </a:effectLst>
              </a:rPr>
            </a:br>
            <a:r>
              <a:rPr lang="en-GB" sz="7000" b="0" i="0" u="none" baseline="0" dirty="0">
                <a:effectLst>
                  <a:outerShdw blurRad="38100" dist="38100" dir="2700000" algn="tl">
                    <a:srgbClr val="000000">
                      <a:alpha val="43137"/>
                    </a:srgbClr>
                  </a:outerShdw>
                </a:effectLst>
              </a:rPr>
              <a:t>Break</a:t>
            </a:r>
          </a:p>
        </p:txBody>
      </p:sp>
      <p:sp>
        <p:nvSpPr>
          <p:cNvPr id="4" name="Datumsplatzhalter 3">
            <a:extLst>
              <a:ext uri="{FF2B5EF4-FFF2-40B4-BE49-F238E27FC236}">
                <a16:creationId xmlns:a16="http://schemas.microsoft.com/office/drawing/2014/main" id="{FBA991CE-06F3-4A2A-8685-B91781527155}"/>
              </a:ext>
            </a:extLst>
          </p:cNvPr>
          <p:cNvSpPr>
            <a:spLocks noGrp="1"/>
          </p:cNvSpPr>
          <p:nvPr>
            <p:ph type="dt" sz="half" idx="10"/>
          </p:nvPr>
        </p:nvSpPr>
        <p:spPr/>
        <p:txBody>
          <a:bodyPr/>
          <a:lstStyle/>
          <a:p>
            <a:pPr algn="l"/>
            <a:fld id="{CDC6B5FE-60AA-42FF-AE84-0BEDCE91C38D}" type="datetime1">
              <a:rPr lang="en-GB" smtClean="0"/>
              <a:pPr algn="l"/>
              <a:t>29/02/2024</a:t>
            </a:fld>
            <a:endParaRPr lang="en-GB" noProof="0" dirty="0"/>
          </a:p>
        </p:txBody>
      </p:sp>
      <p:sp>
        <p:nvSpPr>
          <p:cNvPr id="6" name="Foliennummernplatzhalter 5">
            <a:extLst>
              <a:ext uri="{FF2B5EF4-FFF2-40B4-BE49-F238E27FC236}">
                <a16:creationId xmlns:a16="http://schemas.microsoft.com/office/drawing/2014/main" id="{248C7CDF-0D2B-474C-A3C5-68C2D15B5AD7}"/>
              </a:ext>
            </a:extLst>
          </p:cNvPr>
          <p:cNvSpPr>
            <a:spLocks noGrp="1"/>
          </p:cNvSpPr>
          <p:nvPr>
            <p:ph type="sldNum" sz="quarter" idx="12"/>
          </p:nvPr>
        </p:nvSpPr>
        <p:spPr/>
        <p:txBody>
          <a:bodyPr/>
          <a:lstStyle/>
          <a:p>
            <a:pPr algn="r"/>
            <a:fld id="{5ACA52AF-F19D-405C-AD5F-7D94B96A5CC3}" type="slidenum">
              <a:rPr lang="en-GB" smtClean="0"/>
              <a:pPr algn="r"/>
              <a:t>27</a:t>
            </a:fld>
            <a:endParaRPr lang="en-GB" noProof="0" dirty="0"/>
          </a:p>
        </p:txBody>
      </p:sp>
      <p:sp>
        <p:nvSpPr>
          <p:cNvPr id="7" name="Rechteck 6">
            <a:extLst>
              <a:ext uri="{FF2B5EF4-FFF2-40B4-BE49-F238E27FC236}">
                <a16:creationId xmlns:a16="http://schemas.microsoft.com/office/drawing/2014/main" id="{56FF9BC1-A8A7-4A3F-A30B-3C00629A68E8}"/>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
        <p:nvSpPr>
          <p:cNvPr id="5" name="Footer Placeholder 4">
            <a:extLst>
              <a:ext uri="{FF2B5EF4-FFF2-40B4-BE49-F238E27FC236}">
                <a16:creationId xmlns:a16="http://schemas.microsoft.com/office/drawing/2014/main" id="{C7C6DBEA-F9A0-0BC9-25A5-9839A8F2523A}"/>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Tree>
    <p:extLst>
      <p:ext uri="{BB962C8B-B14F-4D97-AF65-F5344CB8AC3E}">
        <p14:creationId xmlns:p14="http://schemas.microsoft.com/office/powerpoint/2010/main" val="2330390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4142652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412DB499-EEED-4B67-9666-733E57F71D58}"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8</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4168538029"/>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ollaboration</a:t>
                      </a: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Goal attainment</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solidFill>
                            <a:schemeClr val="bg1"/>
                          </a:solidFill>
                          <a:effectLst/>
                        </a:rPr>
                        <a:t>30 minutes</a:t>
                      </a:r>
                      <a:endParaRPr lang="en-GB" sz="1600" noProof="0" dirty="0">
                        <a:solidFill>
                          <a:schemeClr val="bg1"/>
                        </a:solidFill>
                        <a:effectLst/>
                      </a:endParaRPr>
                    </a:p>
                  </a:txBody>
                  <a:tcPr marL="72000" marR="0" marT="0" marB="0" anchor="ctr">
                    <a:solidFill>
                      <a:schemeClr val="accent2"/>
                    </a:solidFill>
                  </a:tcPr>
                </a:tc>
                <a:tc>
                  <a:txBody>
                    <a:bodyPr/>
                    <a:lstStyle/>
                    <a:p>
                      <a:pPr marL="0" indent="0" algn="l" rtl="0" eaLnBrk="1" latinLnBrk="0" hangingPunct="1">
                        <a:spcBef>
                          <a:spcPts val="0"/>
                        </a:spcBef>
                        <a:spcAft>
                          <a:spcPts val="0"/>
                        </a:spcAft>
                      </a:pPr>
                      <a:r>
                        <a:rPr lang="en-GB" sz="1600" b="0" i="0" u="none" kern="1200" baseline="0" dirty="0">
                          <a:solidFill>
                            <a:schemeClr val="bg1"/>
                          </a:solidFill>
                          <a:effectLst/>
                        </a:rPr>
                        <a:t>Team cohesion and well being</a:t>
                      </a:r>
                    </a:p>
                  </a:txBody>
                  <a:tcPr marL="72000" marR="0" marT="0" marB="0" anchor="ctr">
                    <a:solidFill>
                      <a:schemeClr val="accent2"/>
                    </a:solidFill>
                  </a:tcP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effectLst/>
                        </a:rPr>
                        <a:t>20 minutes</a:t>
                      </a:r>
                      <a:endParaRPr lang="en-GB" sz="1600" noProof="0" dirty="0"/>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out &amp; farewell</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20930430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201957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sz="2800" b="0" i="0" u="none" kern="1200" baseline="0" dirty="0">
                <a:effectLst/>
              </a:rPr>
              <a:t>Team cohesion and well-being</a:t>
            </a:r>
            <a:endParaRPr lang="en-GB" b="0" i="0" u="none" baseline="0" dirty="0"/>
          </a:p>
        </p:txBody>
      </p:sp>
      <p:sp>
        <p:nvSpPr>
          <p:cNvPr id="4" name="Datumsplatzhalter 3"/>
          <p:cNvSpPr>
            <a:spLocks noGrp="1"/>
          </p:cNvSpPr>
          <p:nvPr>
            <p:ph type="dt" sz="half" idx="10"/>
          </p:nvPr>
        </p:nvSpPr>
        <p:spPr/>
        <p:txBody>
          <a:bodyPr/>
          <a:lstStyle/>
          <a:p>
            <a:pPr algn="l"/>
            <a:fld id="{9C6F8767-9FBA-47D2-A077-291703CFE645}" type="datetime1">
              <a:rPr lang="en-GB" smtClean="0"/>
              <a:pPr algn="l"/>
              <a:t>29/02/2024</a:t>
            </a:fld>
            <a:endParaRPr lang="en-GB"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29</a:t>
            </a:fld>
            <a:endParaRPr lang="en-GB" noProof="0" dirty="0"/>
          </a:p>
        </p:txBody>
      </p:sp>
      <p:sp>
        <p:nvSpPr>
          <p:cNvPr id="10" name="Rechteck 9"/>
          <p:cNvSpPr/>
          <p:nvPr/>
        </p:nvSpPr>
        <p:spPr>
          <a:xfrm>
            <a:off x="731836" y="1175569"/>
            <a:ext cx="10728325" cy="327511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en-GB" i="0" u="none" baseline="0" dirty="0">
                <a:solidFill>
                  <a:schemeClr val="tx1"/>
                </a:solidFill>
              </a:rPr>
              <a:t>1. Form pairs of 2 and discuss team cohesion and well-being using the following questions to guide you (15 minutes):</a:t>
            </a:r>
          </a:p>
          <a:p>
            <a:pPr marL="800100" lvl="1" indent="-342900">
              <a:buFont typeface="Symbol" panose="05050102010706020507" pitchFamily="18" charset="2"/>
              <a:buChar char="-"/>
            </a:pPr>
            <a:r>
              <a:rPr lang="en-GB" b="0" i="0" u="none" baseline="0" dirty="0">
                <a:solidFill>
                  <a:schemeClr val="tx1"/>
                </a:solidFill>
              </a:rPr>
              <a:t>What do we do to connect not only in our roles but also as colleagues?</a:t>
            </a:r>
          </a:p>
          <a:p>
            <a:pPr marL="800100" lvl="1" indent="-342900">
              <a:buFont typeface="Symbol" panose="05050102010706020507" pitchFamily="18" charset="2"/>
              <a:buChar char="-"/>
            </a:pPr>
            <a:r>
              <a:rPr lang="en-GB" b="0" i="0" u="none" baseline="0" dirty="0">
                <a:solidFill>
                  <a:schemeClr val="tx1"/>
                </a:solidFill>
              </a:rPr>
              <a:t>How often do we reflect on our cooperation in this new (hybrid) form?</a:t>
            </a:r>
          </a:p>
          <a:p>
            <a:pPr marL="800100" lvl="1" indent="-342900">
              <a:buFont typeface="Symbol" panose="05050102010706020507" pitchFamily="18" charset="2"/>
              <a:buChar char="-"/>
            </a:pPr>
            <a:r>
              <a:rPr lang="en-GB" b="0" i="0" u="none" baseline="0" dirty="0">
                <a:solidFill>
                  <a:schemeClr val="tx1"/>
                </a:solidFill>
              </a:rPr>
              <a:t>What steps do we take to address any feelings of isolation or disconnection among team members who are working from home or otherwise?</a:t>
            </a:r>
          </a:p>
          <a:p>
            <a:pPr marL="800100" lvl="1" indent="-342900">
              <a:buFont typeface="Symbol" panose="05050102010706020507" pitchFamily="18" charset="2"/>
              <a:buChar char="-"/>
            </a:pPr>
            <a:r>
              <a:rPr lang="en-GB" dirty="0">
                <a:solidFill>
                  <a:schemeClr val="tx1"/>
                </a:solidFill>
              </a:rPr>
              <a:t>How do we ensure that everyone feels included and that individual needs are addressed?</a:t>
            </a:r>
            <a:endParaRPr lang="en-GB" b="0" i="0" u="none" baseline="0" dirty="0">
              <a:solidFill>
                <a:schemeClr val="tx1"/>
              </a:solidFill>
            </a:endParaRPr>
          </a:p>
          <a:p>
            <a:pPr marL="800100" lvl="1" indent="-342900">
              <a:buFont typeface="Symbol" panose="05050102010706020507" pitchFamily="18" charset="2"/>
              <a:buChar char="-"/>
            </a:pPr>
            <a:r>
              <a:rPr lang="en-GB" b="0" i="0" u="none" baseline="0" dirty="0">
                <a:solidFill>
                  <a:schemeClr val="tx1"/>
                </a:solidFill>
              </a:rPr>
              <a:t>How can we create opportunities for social interaction and team-building activities, both virtually and in-person?</a:t>
            </a:r>
          </a:p>
          <a:p>
            <a:pPr marL="800100" lvl="1" indent="-342900">
              <a:buFont typeface="Symbol" panose="05050102010706020507" pitchFamily="18" charset="2"/>
              <a:buChar char="-"/>
            </a:pPr>
            <a:r>
              <a:rPr lang="en-GB" b="0" i="0" u="none" baseline="0" dirty="0">
                <a:solidFill>
                  <a:schemeClr val="tx1"/>
                </a:solidFill>
              </a:rPr>
              <a:t>How do we promote a healthy work-life balance among team members in a hybrid work setup?</a:t>
            </a:r>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pic>
        <p:nvPicPr>
          <p:cNvPr id="26" name="Graphic 25" descr="Drawing Figure outline">
            <a:extLst>
              <a:ext uri="{FF2B5EF4-FFF2-40B4-BE49-F238E27FC236}">
                <a16:creationId xmlns:a16="http://schemas.microsoft.com/office/drawing/2014/main" id="{31E44439-1382-DDF9-F549-7C738C452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2120" y="245133"/>
            <a:ext cx="914400" cy="914400"/>
          </a:xfrm>
          <a:prstGeom prst="rect">
            <a:avLst/>
          </a:prstGeom>
        </p:spPr>
      </p:pic>
      <p:pic>
        <p:nvPicPr>
          <p:cNvPr id="11" name="Graphic 10" descr="Drawing Figure outline">
            <a:extLst>
              <a:ext uri="{FF2B5EF4-FFF2-40B4-BE49-F238E27FC236}">
                <a16:creationId xmlns:a16="http://schemas.microsoft.com/office/drawing/2014/main" id="{ED7C954A-CDCB-8D6B-BD20-C0E69F3835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flipV="1">
            <a:off x="8746916" y="250371"/>
            <a:ext cx="914400" cy="914400"/>
          </a:xfrm>
          <a:prstGeom prst="rect">
            <a:avLst/>
          </a:prstGeom>
        </p:spPr>
      </p:pic>
      <p:sp>
        <p:nvSpPr>
          <p:cNvPr id="13" name="Rechteck 9">
            <a:extLst>
              <a:ext uri="{FF2B5EF4-FFF2-40B4-BE49-F238E27FC236}">
                <a16:creationId xmlns:a16="http://schemas.microsoft.com/office/drawing/2014/main" id="{395FE564-E77A-A062-6DE1-DDA7459467A2}"/>
              </a:ext>
            </a:extLst>
          </p:cNvPr>
          <p:cNvSpPr/>
          <p:nvPr/>
        </p:nvSpPr>
        <p:spPr>
          <a:xfrm>
            <a:off x="731835" y="4457092"/>
            <a:ext cx="10728325" cy="8280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en-GB" i="0" u="none" baseline="0">
                <a:solidFill>
                  <a:schemeClr val="tx1"/>
                </a:solidFill>
              </a:rPr>
              <a:t>2. Within your pairs and based on your discussion, formulate 2 things that you could do as a team to improve regarding these or related topics and write them down on sticky notes  (5 minutes).</a:t>
            </a:r>
            <a:endParaRPr lang="en-GB" i="0" u="none" baseline="0" dirty="0">
              <a:solidFill>
                <a:schemeClr val="tx1"/>
              </a:solidFill>
            </a:endParaRPr>
          </a:p>
        </p:txBody>
      </p:sp>
      <p:sp>
        <p:nvSpPr>
          <p:cNvPr id="14" name="Rechteck 9">
            <a:extLst>
              <a:ext uri="{FF2B5EF4-FFF2-40B4-BE49-F238E27FC236}">
                <a16:creationId xmlns:a16="http://schemas.microsoft.com/office/drawing/2014/main" id="{7528A58F-D640-34E7-6DA4-5A6CA1D82E0E}"/>
              </a:ext>
            </a:extLst>
          </p:cNvPr>
          <p:cNvSpPr/>
          <p:nvPr/>
        </p:nvSpPr>
        <p:spPr>
          <a:xfrm>
            <a:off x="731835" y="5275950"/>
            <a:ext cx="10728325" cy="8280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en-GB" i="0" u="none" baseline="0">
                <a:solidFill>
                  <a:schemeClr val="tx1"/>
                </a:solidFill>
              </a:rPr>
              <a:t>3. Each pair shares their findings with the rest of the group (10 minutes in total).</a:t>
            </a:r>
            <a:endParaRPr lang="en-GB" i="0" u="none" baseline="0" dirty="0">
              <a:solidFill>
                <a:schemeClr val="tx1"/>
              </a:solidFill>
            </a:endParaRPr>
          </a:p>
        </p:txBody>
      </p:sp>
    </p:spTree>
    <p:extLst>
      <p:ext uri="{BB962C8B-B14F-4D97-AF65-F5344CB8AC3E}">
        <p14:creationId xmlns:p14="http://schemas.microsoft.com/office/powerpoint/2010/main" val="115161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FC14056-3291-216C-B428-AFA1A2516319}"/>
              </a:ext>
            </a:extLst>
          </p:cNvPr>
          <p:cNvGraphicFramePr>
            <a:graphicFrameLocks noChangeAspect="1"/>
          </p:cNvGraphicFramePr>
          <p:nvPr>
            <p:custDataLst>
              <p:tags r:id="rId1"/>
            </p:custDataLst>
            <p:extLst>
              <p:ext uri="{D42A27DB-BD31-4B8C-83A1-F6EECF244321}">
                <p14:modId xmlns:p14="http://schemas.microsoft.com/office/powerpoint/2010/main" val="319612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5FC14056-3291-216C-B428-AFA1A2516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en-GB" b="0" i="0" u="none" baseline="0" dirty="0"/>
              <a:t>Focus topics of this workshop</a:t>
            </a:r>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p:txBody>
          <a:bodyPr/>
          <a:lstStyle/>
          <a:p>
            <a:pPr marL="285750" indent="-285750" algn="l">
              <a:spcBef>
                <a:spcPts val="1800"/>
              </a:spcBef>
              <a:buFont typeface="Arial" panose="020B0604020202020204" pitchFamily="34" charset="0"/>
              <a:buChar char="•"/>
            </a:pPr>
            <a:r>
              <a:rPr lang="en-GB" sz="1600" b="1" i="0" u="none" baseline="0" dirty="0"/>
              <a:t>Advantages of hybrid work:</a:t>
            </a:r>
            <a:r>
              <a:rPr lang="en-GB" sz="1600" b="0" i="0" u="none" baseline="0" dirty="0"/>
              <a:t> Hybrid work setups bring forth several benefits, including reduced commuting time and expenses, heightened flexibility in scheduling work and personal commitments, increased productivity and motivation and a decrease in office space requirements. Nevertheless, hybrid work can also be challenging. Communication and collaboration issues may arise due to team members’ working remotely. </a:t>
            </a:r>
          </a:p>
          <a:p>
            <a:pPr marL="285750" indent="-285750" algn="l">
              <a:spcBef>
                <a:spcPts val="1800"/>
              </a:spcBef>
              <a:buFont typeface="Arial" panose="020B0604020202020204" pitchFamily="34" charset="0"/>
              <a:buChar char="•"/>
            </a:pPr>
            <a:r>
              <a:rPr lang="en-GB" sz="1600" b="1" i="0" u="none" baseline="0" dirty="0"/>
              <a:t>Importance of establishing a team </a:t>
            </a:r>
            <a:r>
              <a:rPr lang="en-GB" sz="1600" b="1" dirty="0"/>
              <a:t>c</a:t>
            </a:r>
            <a:r>
              <a:rPr lang="en-GB" sz="1600" b="1" i="0" u="none" baseline="0" dirty="0"/>
              <a:t>onsensus: </a:t>
            </a:r>
            <a:r>
              <a:rPr lang="en-GB" sz="1600" b="0" i="0" u="none" baseline="0" dirty="0"/>
              <a:t>To effectively navigate the intricacies of hybrid work, it's imperative for leaders and their teams to reach a shared understanding of successful hybrid collaboration. This can be accomplished by fostering team consensus, wherein expectations and agreements related to hybrid work arrangements are collectively defined.</a:t>
            </a:r>
          </a:p>
          <a:p>
            <a:pPr marL="285750" indent="-285750" algn="l">
              <a:spcBef>
                <a:spcPts val="1800"/>
              </a:spcBef>
              <a:buFont typeface="Arial" panose="020B0604020202020204" pitchFamily="34" charset="0"/>
              <a:buChar char="•"/>
            </a:pPr>
            <a:r>
              <a:rPr lang="en-GB" sz="1600" b="1" i="0" u="none" baseline="0" dirty="0"/>
              <a:t>Striking a balance </a:t>
            </a:r>
            <a:r>
              <a:rPr lang="en-GB" sz="1600" b="1" dirty="0"/>
              <a:t>b</a:t>
            </a:r>
            <a:r>
              <a:rPr lang="en-GB" sz="1600" b="1" i="0" u="none" baseline="0" dirty="0"/>
              <a:t>etween </a:t>
            </a:r>
            <a:r>
              <a:rPr lang="en-GB" sz="1600" b="1" dirty="0"/>
              <a:t>f</a:t>
            </a:r>
            <a:r>
              <a:rPr lang="en-GB" sz="1600" b="1" i="0" u="none" baseline="0" dirty="0"/>
              <a:t>ormality and informality: </a:t>
            </a:r>
            <a:r>
              <a:rPr lang="en-GB" sz="1600" b="0" i="0" u="none" baseline="0" dirty="0"/>
              <a:t>Effective management in a hybrid work environment necessitates striking a harmonious balance between formality, characterized by structures and processes, and informality, driven by social dynamics within organisations. Teams must address this equilibrium to shape their own culture and uphold a sense of teamwork and belonging, even in hybrid work settings.</a:t>
            </a: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D670E7D7-D302-41E8-8D96-4AB3FADD2E58}"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en-GB" smtClean="0"/>
              <a:pPr algn="r"/>
              <a:t>3</a:t>
            </a:fld>
            <a:endParaRPr lang="en-GB" noProof="0" dirty="0"/>
          </a:p>
        </p:txBody>
      </p:sp>
      <p:sp>
        <p:nvSpPr>
          <p:cNvPr id="7" name="Rechteck 6">
            <a:extLst>
              <a:ext uri="{FF2B5EF4-FFF2-40B4-BE49-F238E27FC236}">
                <a16:creationId xmlns:a16="http://schemas.microsoft.com/office/drawing/2014/main" id="{E00086F2-3B9A-4050-BCCD-632B815B626F}"/>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1765676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386830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Workshop schedule</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en-GB" dirty="0"/>
          </a:p>
        </p:txBody>
      </p:sp>
      <p:sp>
        <p:nvSpPr>
          <p:cNvPr id="4" name="Datumsplatzhalter 3"/>
          <p:cNvSpPr>
            <a:spLocks noGrp="1"/>
          </p:cNvSpPr>
          <p:nvPr>
            <p:ph type="dt" sz="half" idx="10"/>
          </p:nvPr>
        </p:nvSpPr>
        <p:spPr/>
        <p:txBody>
          <a:bodyPr/>
          <a:lstStyle/>
          <a:p>
            <a:pPr algn="l"/>
            <a:fld id="{82BBC42B-770F-45AE-A075-9BD333568811}"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30</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503241809"/>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en-GB" sz="1600" b="1" i="0" u="none" kern="1200" baseline="0" dirty="0">
                          <a:effectLst/>
                        </a:rPr>
                        <a:t>Duratio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Agenda point</a:t>
                      </a:r>
                      <a:endParaRPr lang="en-GB"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en-GB" sz="1600" b="0" i="0" u="none" kern="1200" baseline="0" dirty="0">
                          <a:effectLst/>
                        </a:rPr>
                        <a:t>10 minutes</a:t>
                      </a:r>
                      <a:endParaRPr lang="en-GB"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i="0" u="none" kern="1200" baseline="0" dirty="0">
                          <a:effectLst/>
                        </a:rPr>
                        <a:t>Welcome &amp; introduction</a:t>
                      </a:r>
                      <a:endParaRPr lang="en-GB"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en-GB" sz="1600" b="0" i="0" u="none" kern="1200" baseline="0" dirty="0">
                          <a:effectLst/>
                        </a:rPr>
                        <a:t>2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heck-in</a:t>
                      </a: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0" i="0" u="none" kern="1200" baseline="0" dirty="0">
                          <a:effectLst/>
                        </a:rPr>
                        <a:t>Collaboration</a:t>
                      </a: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Goal attainment</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en-GB" sz="1600" b="0" i="0" u="none" kern="1200" baseline="0" dirty="0">
                          <a:effectLst/>
                        </a:rPr>
                        <a:t>10 minutes</a:t>
                      </a:r>
                    </a:p>
                  </a:txBody>
                  <a:tcPr marL="72000" marR="0" marT="0" marB="0" anchor="ctr"/>
                </a:tc>
                <a:tc>
                  <a:txBody>
                    <a:bodyPr/>
                    <a:lstStyle/>
                    <a:p>
                      <a:pPr marL="0" lvl="0" algn="l" rtl="0">
                        <a:spcBef>
                          <a:spcPts val="0"/>
                        </a:spcBef>
                        <a:spcAft>
                          <a:spcPts val="0"/>
                        </a:spcAft>
                        <a:buNone/>
                      </a:pPr>
                      <a:r>
                        <a:rPr lang="en-GB" sz="1600" b="0" i="0" u="none" kern="1200" baseline="0" dirty="0">
                          <a:effectLst/>
                        </a:rPr>
                        <a:t>Break</a:t>
                      </a: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en-GB" sz="1600" b="0" i="0" u="none" kern="1200" baseline="0" dirty="0">
                          <a:effectLst/>
                        </a:rPr>
                        <a:t>30 minutes</a:t>
                      </a:r>
                      <a:endParaRPr lang="en-GB" sz="1600" noProof="0" dirty="0">
                        <a:effectLst/>
                      </a:endParaRPr>
                    </a:p>
                  </a:txBody>
                  <a:tcPr marL="72000" marR="0" marT="0" marB="0" anchor="ctr"/>
                </a:tc>
                <a:tc>
                  <a:txBody>
                    <a:bodyPr/>
                    <a:lstStyle/>
                    <a:p>
                      <a:pPr marL="0" indent="0" algn="l" rtl="0" eaLnBrk="1" latinLnBrk="0" hangingPunct="1">
                        <a:spcBef>
                          <a:spcPts val="0"/>
                        </a:spcBef>
                        <a:spcAft>
                          <a:spcPts val="0"/>
                        </a:spcAft>
                      </a:pPr>
                      <a:r>
                        <a:rPr lang="en-GB" sz="1600" b="0" i="0" u="none" kern="1200" baseline="0" dirty="0">
                          <a:effectLst/>
                        </a:rPr>
                        <a:t>Team cohesion and well being</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en-GB" sz="1600" b="0" i="0" u="none" kern="1200" baseline="0" dirty="0">
                          <a:solidFill>
                            <a:schemeClr val="bg1"/>
                          </a:solidFill>
                          <a:effectLst/>
                        </a:rPr>
                        <a:t>20 minutes</a:t>
                      </a:r>
                      <a:endParaRPr lang="en-GB" sz="1600" noProof="0" dirty="0">
                        <a:solidFill>
                          <a:schemeClr val="bg1"/>
                        </a:solidFill>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en-GB" sz="1600" b="0" i="0" u="none" kern="1200" baseline="0" dirty="0">
                          <a:solidFill>
                            <a:schemeClr val="bg1"/>
                          </a:solidFill>
                          <a:effectLst/>
                        </a:rPr>
                        <a:t>Check-out &amp; farewell</a:t>
                      </a:r>
                    </a:p>
                  </a:txBody>
                  <a:tcPr marL="72000" marR="0" marT="0" marB="0" anchor="ctr">
                    <a:solidFill>
                      <a:schemeClr val="accent2"/>
                    </a:solidFill>
                  </a:tcP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28945233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CEC7E4B-C0D8-8565-2536-A0AED66D6795}"/>
              </a:ext>
            </a:extLst>
          </p:cNvPr>
          <p:cNvGraphicFramePr>
            <a:graphicFrameLocks noChangeAspect="1"/>
          </p:cNvGraphicFramePr>
          <p:nvPr>
            <p:custDataLst>
              <p:tags r:id="rId1"/>
            </p:custDataLst>
            <p:extLst>
              <p:ext uri="{D42A27DB-BD31-4B8C-83A1-F6EECF244321}">
                <p14:modId xmlns:p14="http://schemas.microsoft.com/office/powerpoint/2010/main" val="1611896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5CEC7E4B-C0D8-8565-2536-A0AED66D67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vert="horz"/>
          <a:lstStyle/>
          <a:p>
            <a:pPr algn="l"/>
            <a:r>
              <a:rPr lang="en-GB" b="0" i="0" u="none" baseline="0" dirty="0"/>
              <a:t>Check-out &amp; next steps (example exercise)</a:t>
            </a:r>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6" y="1412875"/>
            <a:ext cx="6748464" cy="4680000"/>
          </a:xfrm>
        </p:spPr>
        <p:txBody>
          <a:bodyPr vert="horz" lIns="0" tIns="0" rIns="0" bIns="0" rtlCol="0" anchor="t">
            <a:noAutofit/>
          </a:bodyPr>
          <a:lstStyle/>
          <a:p>
            <a:pPr marL="269875" indent="-269875"/>
            <a:r>
              <a:rPr lang="en-GB" sz="1800" dirty="0">
                <a:latin typeface="Arial"/>
                <a:cs typeface="Arial"/>
              </a:rPr>
              <a:t>Reviewing </a:t>
            </a:r>
            <a:r>
              <a:rPr lang="en-GB" dirty="0">
                <a:latin typeface="Arial"/>
                <a:cs typeface="Arial"/>
              </a:rPr>
              <a:t>your results from the previous exercises and the discussions you had as a team, what are the 3 actions you want to commit to? (everyone is asked to place 3 stickers on the actions they deem most impactful (5 minutes)).</a:t>
            </a:r>
          </a:p>
          <a:p>
            <a:pPr marL="269875" indent="-269875"/>
            <a:endParaRPr lang="en-GB" sz="1800" dirty="0">
              <a:latin typeface="Arial"/>
              <a:cs typeface="Arial"/>
            </a:endParaRPr>
          </a:p>
          <a:p>
            <a:pPr marL="269875" indent="-269875"/>
            <a:r>
              <a:rPr lang="en-GB" dirty="0">
                <a:latin typeface="Arial"/>
                <a:cs typeface="Arial"/>
              </a:rPr>
              <a:t>Choose the actions that had the most votes and determine what the next steps will be (10 minutes).</a:t>
            </a:r>
            <a:endParaRPr lang="en-GB" sz="1800" dirty="0">
              <a:latin typeface="Arial"/>
              <a:cs typeface="Arial"/>
            </a:endParaRPr>
          </a:p>
          <a:p>
            <a:pPr marL="269875" indent="-269875"/>
            <a:endParaRPr lang="en-GB" sz="1800" dirty="0">
              <a:latin typeface="Arial"/>
              <a:cs typeface="Arial"/>
            </a:endParaRPr>
          </a:p>
          <a:p>
            <a:pPr marL="269875" indent="-269875"/>
            <a:r>
              <a:rPr lang="en-GB" dirty="0">
                <a:latin typeface="Arial"/>
                <a:cs typeface="Arial"/>
              </a:rPr>
              <a:t>Discuss how you, as a team, will review the impact of your actions and correct course if necessary (5 minutes)?</a:t>
            </a:r>
            <a:endParaRPr lang="en-GB" sz="1800" dirty="0">
              <a:cs typeface="Arial"/>
            </a:endParaRPr>
          </a:p>
          <a:p>
            <a:pPr marL="269875" indent="-269875" algn="l"/>
            <a:endParaRPr lang="en-GB" b="0" i="0" u="none" baseline="0" dirty="0">
              <a:latin typeface="Arial"/>
              <a:ea typeface="Arial"/>
              <a:cs typeface="Arial"/>
            </a:endParaRPr>
          </a:p>
          <a:p>
            <a:pPr marL="269875" indent="-269875" algn="l"/>
            <a:endParaRPr lang="en-GB" b="0" i="0" u="none" baseline="0" dirty="0">
              <a:latin typeface="Arial"/>
              <a:ea typeface="Arial"/>
              <a:cs typeface="Arial"/>
            </a:endParaRPr>
          </a:p>
          <a:p>
            <a:pPr marL="269875" indent="-269875" algn="l"/>
            <a:endParaRPr lang="en-GB" dirty="0">
              <a:latin typeface="Arial"/>
              <a:ea typeface="Arial"/>
              <a:cs typeface="Arial"/>
            </a:endParaRPr>
          </a:p>
          <a:p>
            <a:pPr marL="269875" indent="-269875" algn="l"/>
            <a:endParaRPr lang="en-GB" b="0" i="0" u="none" baseline="0" dirty="0">
              <a:latin typeface="Arial"/>
              <a:ea typeface="Arial"/>
              <a:cs typeface="Arial"/>
            </a:endParaRPr>
          </a:p>
          <a:p>
            <a:pPr marL="269875" indent="-269875" algn="l"/>
            <a:endParaRPr lang="en-GB" dirty="0">
              <a:cs typeface="Arial"/>
            </a:endParaRPr>
          </a:p>
          <a:p>
            <a:pPr marL="0" indent="0" algn="l">
              <a:buNone/>
            </a:pPr>
            <a:endParaRPr lang="en-GB" sz="1600" b="1" dirty="0">
              <a:cs typeface="Arial"/>
            </a:endParaRPr>
          </a:p>
          <a:p>
            <a:pPr marL="0" indent="0" algn="l">
              <a:buNone/>
            </a:pPr>
            <a:endParaRPr lang="en-GB" sz="1600" b="1" dirty="0">
              <a:cs typeface="Arial"/>
            </a:endParaRPr>
          </a:p>
          <a:p>
            <a:pPr marL="0" indent="0" algn="l">
              <a:buNone/>
            </a:pPr>
            <a:endParaRPr lang="en-GB" sz="1600" b="1" dirty="0">
              <a:cs typeface="Arial"/>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pPr algn="l"/>
            <a:fld id="{0F02D335-F5D7-4766-8B11-0D795C7B13E3}" type="datetime1">
              <a:rPr lang="en-GB" smtClean="0"/>
              <a:pPr algn="l"/>
              <a:t>29/02/2024</a:t>
            </a:fld>
            <a:endParaRPr lang="en-GB" noProof="0" dirty="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pPr algn="r"/>
            <a:fld id="{5ACA52AF-F19D-405C-AD5F-7D94B96A5CC3}" type="slidenum">
              <a:rPr lang="en-GB" smtClean="0"/>
              <a:pPr algn="r"/>
              <a:t>31</a:t>
            </a:fld>
            <a:endParaRPr lang="en-GB" noProof="0" dirty="0"/>
          </a:p>
        </p:txBody>
      </p:sp>
      <p:pic>
        <p:nvPicPr>
          <p:cNvPr id="8" name="Picture 7">
            <a:extLst>
              <a:ext uri="{FF2B5EF4-FFF2-40B4-BE49-F238E27FC236}">
                <a16:creationId xmlns:a16="http://schemas.microsoft.com/office/drawing/2014/main" id="{A6706CC3-8947-4813-8BE0-CC4FF62607E1}"/>
              </a:ext>
            </a:extLst>
          </p:cNvPr>
          <p:cNvPicPr>
            <a:picLocks noChangeAspect="1"/>
          </p:cNvPicPr>
          <p:nvPr/>
        </p:nvPicPr>
        <p:blipFill>
          <a:blip r:embed="rId6"/>
          <a:srcRect/>
          <a:stretch/>
        </p:blipFill>
        <p:spPr>
          <a:xfrm>
            <a:off x="7808758" y="1160351"/>
            <a:ext cx="3436315" cy="5155324"/>
          </a:xfrm>
          <a:prstGeom prst="rect">
            <a:avLst/>
          </a:prstGeom>
        </p:spPr>
      </p:pic>
      <p:sp>
        <p:nvSpPr>
          <p:cNvPr id="9" name="Rechteck 8">
            <a:extLst>
              <a:ext uri="{FF2B5EF4-FFF2-40B4-BE49-F238E27FC236}">
                <a16:creationId xmlns:a16="http://schemas.microsoft.com/office/drawing/2014/main" id="{8928BBA9-96FA-40B4-9815-860C77E3EC41}"/>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1900787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E7B902-01C5-279F-716C-D4818AF88DEB}"/>
              </a:ext>
            </a:extLst>
          </p:cNvPr>
          <p:cNvGraphicFramePr>
            <a:graphicFrameLocks noChangeAspect="1"/>
          </p:cNvGraphicFramePr>
          <p:nvPr>
            <p:custDataLst>
              <p:tags r:id="rId1"/>
            </p:custDataLst>
            <p:extLst>
              <p:ext uri="{D42A27DB-BD31-4B8C-83A1-F6EECF244321}">
                <p14:modId xmlns:p14="http://schemas.microsoft.com/office/powerpoint/2010/main" val="22475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1FE7B902-01C5-279F-716C-D4818AF88D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558334-A345-4D81-9F4E-D052229C97C2}"/>
              </a:ext>
            </a:extLst>
          </p:cNvPr>
          <p:cNvSpPr>
            <a:spLocks noGrp="1"/>
          </p:cNvSpPr>
          <p:nvPr>
            <p:ph type="ctrTitle"/>
          </p:nvPr>
        </p:nvSpPr>
        <p:spPr/>
        <p:txBody>
          <a:bodyPr vert="horz"/>
          <a:lstStyle/>
          <a:p>
            <a:pPr algn="l"/>
            <a:r>
              <a:rPr lang="en-GB" b="0" i="0" u="none" baseline="0" dirty="0"/>
              <a:t>We wish you good luck with the workshop!</a:t>
            </a:r>
            <a:endParaRPr lang="en-GB" dirty="0"/>
          </a:p>
        </p:txBody>
      </p:sp>
      <p:sp>
        <p:nvSpPr>
          <p:cNvPr id="5" name="Textplatzhalter 4">
            <a:extLst>
              <a:ext uri="{FF2B5EF4-FFF2-40B4-BE49-F238E27FC236}">
                <a16:creationId xmlns:a16="http://schemas.microsoft.com/office/drawing/2014/main" id="{20CBB855-862A-446C-A75E-1B38AEA6B736}"/>
              </a:ext>
            </a:extLst>
          </p:cNvPr>
          <p:cNvSpPr>
            <a:spLocks noGrp="1"/>
          </p:cNvSpPr>
          <p:nvPr>
            <p:ph type="body" sz="quarter" idx="13"/>
          </p:nvPr>
        </p:nvSpPr>
        <p:spPr>
          <a:xfrm>
            <a:off x="1078515" y="4505325"/>
            <a:ext cx="9437085" cy="1625300"/>
          </a:xfrm>
        </p:spPr>
        <p:txBody>
          <a:bodyPr vert="horz" lIns="0" tIns="0" rIns="0" bIns="0" rtlCol="0" anchor="t">
            <a:noAutofit/>
          </a:bodyPr>
          <a:lstStyle/>
          <a:p>
            <a:pPr algn="l"/>
            <a:r>
              <a:rPr lang="en-GB" dirty="0"/>
              <a:t>If you have any questions about the workshop concept, please contact Sara van Leeuwen  (sara.vanleeuwen@sl.ethz.ch). If you have any questions about regulations and guidelines, the HR Partners (HR Consulting) will be happy to assist you.</a:t>
            </a:r>
            <a:endParaRPr lang="en-GB" b="0" i="0" u="none" baseline="0" dirty="0"/>
          </a:p>
        </p:txBody>
      </p:sp>
      <p:sp>
        <p:nvSpPr>
          <p:cNvPr id="3" name="Rechteck 4">
            <a:extLst>
              <a:ext uri="{FF2B5EF4-FFF2-40B4-BE49-F238E27FC236}">
                <a16:creationId xmlns:a16="http://schemas.microsoft.com/office/drawing/2014/main" id="{723BB8B0-3216-5F05-ADD6-9B73AE911F92}"/>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210407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DB5C681-0F20-2515-3C36-02BE7407BA56}"/>
              </a:ext>
            </a:extLst>
          </p:cNvPr>
          <p:cNvGraphicFramePr>
            <a:graphicFrameLocks noChangeAspect="1"/>
          </p:cNvGraphicFramePr>
          <p:nvPr>
            <p:custDataLst>
              <p:tags r:id="rId1"/>
            </p:custDataLst>
            <p:extLst>
              <p:ext uri="{D42A27DB-BD31-4B8C-83A1-F6EECF244321}">
                <p14:modId xmlns:p14="http://schemas.microsoft.com/office/powerpoint/2010/main" val="131368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ADB5C681-0F20-2515-3C36-02BE7407B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8698104-62D2-44F7-8498-4D2F01E2AB5C}"/>
              </a:ext>
            </a:extLst>
          </p:cNvPr>
          <p:cNvSpPr>
            <a:spLocks noGrp="1"/>
          </p:cNvSpPr>
          <p:nvPr>
            <p:ph type="title"/>
          </p:nvPr>
        </p:nvSpPr>
        <p:spPr/>
        <p:txBody>
          <a:bodyPr vert="horz"/>
          <a:lstStyle/>
          <a:p>
            <a:pPr algn="l"/>
            <a:r>
              <a:rPr lang="en-GB" b="0" i="0" u="none" baseline="0" dirty="0">
                <a:latin typeface="Arial"/>
                <a:ea typeface="Arial"/>
                <a:cs typeface="Arial"/>
              </a:rPr>
              <a:t>Relevant insights from within ETH</a:t>
            </a:r>
            <a:br>
              <a:rPr lang="en-GB" b="0" i="0" u="none" baseline="0" dirty="0">
                <a:latin typeface="Arial"/>
                <a:ea typeface="Arial"/>
                <a:cs typeface="Arial"/>
              </a:rPr>
            </a:br>
            <a:br>
              <a:rPr lang="en-GB" b="0" i="0" u="none" baseline="0" dirty="0">
                <a:latin typeface="Arial"/>
                <a:ea typeface="Arial"/>
                <a:cs typeface="Arial"/>
              </a:rPr>
            </a:br>
            <a:r>
              <a:rPr lang="en-GB" b="0" i="0" u="none" baseline="0" dirty="0">
                <a:latin typeface="Arial"/>
                <a:ea typeface="Arial"/>
                <a:cs typeface="Arial"/>
              </a:rPr>
              <a:t> </a:t>
            </a:r>
            <a:endParaRPr lang="en-GB" sz="1600" dirty="0">
              <a:cs typeface="Arial"/>
            </a:endParaRPr>
          </a:p>
        </p:txBody>
      </p:sp>
      <p:sp>
        <p:nvSpPr>
          <p:cNvPr id="4" name="Datumsplatzhalter 3">
            <a:extLst>
              <a:ext uri="{FF2B5EF4-FFF2-40B4-BE49-F238E27FC236}">
                <a16:creationId xmlns:a16="http://schemas.microsoft.com/office/drawing/2014/main" id="{2C7151FD-0B7E-40A5-B765-DCA9528BEB0E}"/>
              </a:ext>
            </a:extLst>
          </p:cNvPr>
          <p:cNvSpPr>
            <a:spLocks noGrp="1"/>
          </p:cNvSpPr>
          <p:nvPr>
            <p:ph type="dt" sz="half" idx="10"/>
          </p:nvPr>
        </p:nvSpPr>
        <p:spPr/>
        <p:txBody>
          <a:bodyPr/>
          <a:lstStyle/>
          <a:p>
            <a:pPr algn="l"/>
            <a:fld id="{BB6F9246-B7AC-49F8-9AD6-8A9BCFA329C0}"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0E142C1F-9344-4A89-B6B0-A96D514A358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30493C4D-4FE7-4A4E-B4D3-67C813803591}"/>
              </a:ext>
            </a:extLst>
          </p:cNvPr>
          <p:cNvSpPr>
            <a:spLocks noGrp="1"/>
          </p:cNvSpPr>
          <p:nvPr>
            <p:ph type="sldNum" sz="quarter" idx="12"/>
          </p:nvPr>
        </p:nvSpPr>
        <p:spPr/>
        <p:txBody>
          <a:bodyPr/>
          <a:lstStyle/>
          <a:p>
            <a:pPr algn="r"/>
            <a:fld id="{5ACA52AF-F19D-405C-AD5F-7D94B96A5CC3}" type="slidenum">
              <a:rPr lang="en-GB" smtClean="0"/>
              <a:pPr algn="r"/>
              <a:t>4</a:t>
            </a:fld>
            <a:endParaRPr lang="en-GB" noProof="0" dirty="0"/>
          </a:p>
        </p:txBody>
      </p:sp>
      <p:sp>
        <p:nvSpPr>
          <p:cNvPr id="7" name="Rechteck 6">
            <a:extLst>
              <a:ext uri="{FF2B5EF4-FFF2-40B4-BE49-F238E27FC236}">
                <a16:creationId xmlns:a16="http://schemas.microsoft.com/office/drawing/2014/main" id="{4A8138F0-8B88-45AF-BB6F-E3C27F039B53}"/>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
        <p:nvSpPr>
          <p:cNvPr id="10" name="TextBox 9">
            <a:extLst>
              <a:ext uri="{FF2B5EF4-FFF2-40B4-BE49-F238E27FC236}">
                <a16:creationId xmlns:a16="http://schemas.microsoft.com/office/drawing/2014/main" id="{89002B66-8B82-4F4C-826B-607F78B71E25}"/>
              </a:ext>
            </a:extLst>
          </p:cNvPr>
          <p:cNvSpPr txBox="1"/>
          <p:nvPr/>
        </p:nvSpPr>
        <p:spPr>
          <a:xfrm>
            <a:off x="2926556" y="1414463"/>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dirty="0">
              <a:cs typeface="Arial"/>
            </a:endParaRPr>
          </a:p>
        </p:txBody>
      </p:sp>
      <p:pic>
        <p:nvPicPr>
          <p:cNvPr id="13" name="Picture 14" descr="A picture containing text&#10;&#10;Description automatically generated">
            <a:extLst>
              <a:ext uri="{FF2B5EF4-FFF2-40B4-BE49-F238E27FC236}">
                <a16:creationId xmlns:a16="http://schemas.microsoft.com/office/drawing/2014/main" id="{72090AE7-9624-4F36-AE5A-56FF4FE73935}"/>
              </a:ext>
            </a:extLst>
          </p:cNvPr>
          <p:cNvPicPr>
            <a:picLocks noChangeAspect="1"/>
          </p:cNvPicPr>
          <p:nvPr/>
        </p:nvPicPr>
        <p:blipFill>
          <a:blip r:embed="rId6"/>
          <a:stretch>
            <a:fillRect/>
          </a:stretch>
        </p:blipFill>
        <p:spPr>
          <a:xfrm>
            <a:off x="747505" y="1207833"/>
            <a:ext cx="542925" cy="571500"/>
          </a:xfrm>
          <a:prstGeom prst="rect">
            <a:avLst/>
          </a:prstGeom>
        </p:spPr>
      </p:pic>
      <p:sp>
        <p:nvSpPr>
          <p:cNvPr id="16" name="Content Placeholder 15">
            <a:extLst>
              <a:ext uri="{FF2B5EF4-FFF2-40B4-BE49-F238E27FC236}">
                <a16:creationId xmlns:a16="http://schemas.microsoft.com/office/drawing/2014/main" id="{610C0BC9-B539-4F72-A018-A02A8E404895}"/>
              </a:ext>
            </a:extLst>
          </p:cNvPr>
          <p:cNvSpPr>
            <a:spLocks noGrp="1"/>
          </p:cNvSpPr>
          <p:nvPr>
            <p:ph idx="1"/>
          </p:nvPr>
        </p:nvSpPr>
        <p:spPr>
          <a:xfrm>
            <a:off x="1406433" y="1329805"/>
            <a:ext cx="7437447" cy="4163542"/>
          </a:xfrm>
        </p:spPr>
        <p:txBody>
          <a:bodyPr vert="horz" lIns="0" tIns="0" rIns="0" bIns="0" rtlCol="0" anchor="t">
            <a:noAutofit/>
          </a:bodyPr>
          <a:lstStyle/>
          <a:p>
            <a:pPr marL="0" indent="0" algn="l">
              <a:spcBef>
                <a:spcPts val="2400"/>
              </a:spcBef>
              <a:buNone/>
            </a:pPr>
            <a:r>
              <a:rPr lang="en-US" sz="1600" b="0" i="0" u="none" baseline="0" dirty="0">
                <a:ea typeface="Segoe UI"/>
                <a:cs typeface="Segoe UI"/>
              </a:rPr>
              <a:t>On average, ETH employees want to spend 56% of their working hours on site and an average of 35% of their working hours working from home</a:t>
            </a:r>
          </a:p>
          <a:p>
            <a:pPr marL="0" indent="0" algn="l">
              <a:spcBef>
                <a:spcPts val="2400"/>
              </a:spcBef>
              <a:buNone/>
            </a:pPr>
            <a:r>
              <a:rPr lang="en-US" sz="1600" b="0" i="0" u="none" baseline="0" dirty="0">
                <a:cs typeface="Segoe UI"/>
              </a:rPr>
              <a:t>The top three reasons ETH employees prefer working from home are: the elimination of commuting, the freedom to choose their work location and schedule, and an enhanced work-life balance.</a:t>
            </a:r>
          </a:p>
          <a:p>
            <a:pPr marL="0" indent="0" algn="l">
              <a:spcBef>
                <a:spcPts val="2400"/>
              </a:spcBef>
              <a:buNone/>
            </a:pPr>
            <a:r>
              <a:rPr lang="en-GB" sz="1600" b="0" i="0" u="none" baseline="0" dirty="0">
                <a:ea typeface="+mn-lt"/>
                <a:cs typeface="+mn-lt"/>
              </a:rPr>
              <a:t>T</a:t>
            </a:r>
            <a:r>
              <a:rPr lang="en-GB" sz="1600" b="0" i="0" u="none" baseline="0" dirty="0">
                <a:cs typeface="Segoe UI"/>
              </a:rPr>
              <a:t>rust-based employment relationships are crucial</a:t>
            </a:r>
            <a:r>
              <a:rPr lang="en-GB" sz="1600" dirty="0">
                <a:cs typeface="Segoe UI"/>
              </a:rPr>
              <a:t> for hybrid working arrangements</a:t>
            </a:r>
            <a:endParaRPr lang="en-GB" sz="1600" dirty="0">
              <a:ea typeface="Segoe UI"/>
              <a:cs typeface="Segoe UI"/>
            </a:endParaRPr>
          </a:p>
          <a:p>
            <a:pPr marL="0" indent="0" algn="l">
              <a:spcBef>
                <a:spcPts val="2400"/>
              </a:spcBef>
              <a:buNone/>
            </a:pPr>
            <a:r>
              <a:rPr lang="en-GB" sz="1600" b="0" i="0" u="none" baseline="0" dirty="0">
                <a:ea typeface="Segoe UI"/>
                <a:cs typeface="Segoe UI"/>
              </a:rPr>
              <a:t>AT ETH, many software tools have been made available that support hybrid working arrangements.</a:t>
            </a:r>
          </a:p>
          <a:p>
            <a:pPr marL="0" indent="0" algn="l">
              <a:spcBef>
                <a:spcPts val="2400"/>
              </a:spcBef>
              <a:buNone/>
            </a:pPr>
            <a:r>
              <a:rPr lang="en-GB" sz="1600" dirty="0">
                <a:cs typeface="Segoe UI"/>
              </a:rPr>
              <a:t>Spontaneous informal interactions with colleagues at work and the ideas that come out of it remain crucial in the eyes of ETH employees</a:t>
            </a:r>
            <a:endParaRPr lang="en-GB" sz="1600" dirty="0">
              <a:cs typeface="Arial" panose="020B0604020202020204"/>
            </a:endParaRPr>
          </a:p>
        </p:txBody>
      </p:sp>
      <p:pic>
        <p:nvPicPr>
          <p:cNvPr id="18" name="Picture 18">
            <a:extLst>
              <a:ext uri="{FF2B5EF4-FFF2-40B4-BE49-F238E27FC236}">
                <a16:creationId xmlns:a16="http://schemas.microsoft.com/office/drawing/2014/main" id="{AE3A6DEC-99DC-408A-BCDE-E9FAD48A6E2D}"/>
              </a:ext>
            </a:extLst>
          </p:cNvPr>
          <p:cNvPicPr>
            <a:picLocks noChangeAspect="1"/>
          </p:cNvPicPr>
          <p:nvPr/>
        </p:nvPicPr>
        <p:blipFill>
          <a:blip r:embed="rId7"/>
          <a:stretch>
            <a:fillRect/>
          </a:stretch>
        </p:blipFill>
        <p:spPr>
          <a:xfrm>
            <a:off x="782775" y="3733651"/>
            <a:ext cx="457200" cy="333375"/>
          </a:xfrm>
          <a:prstGeom prst="rect">
            <a:avLst/>
          </a:prstGeom>
        </p:spPr>
      </p:pic>
      <p:pic>
        <p:nvPicPr>
          <p:cNvPr id="19" name="Picture 19" descr="Diagram&#10;&#10;Description automatically generated">
            <a:extLst>
              <a:ext uri="{FF2B5EF4-FFF2-40B4-BE49-F238E27FC236}">
                <a16:creationId xmlns:a16="http://schemas.microsoft.com/office/drawing/2014/main" id="{C827A84E-853D-4F4F-B2C0-D55B00AFDD82}"/>
              </a:ext>
            </a:extLst>
          </p:cNvPr>
          <p:cNvPicPr>
            <a:picLocks noChangeAspect="1"/>
          </p:cNvPicPr>
          <p:nvPr/>
        </p:nvPicPr>
        <p:blipFill rotWithShape="1">
          <a:blip r:embed="rId8"/>
          <a:srcRect l="60018"/>
          <a:stretch/>
        </p:blipFill>
        <p:spPr>
          <a:xfrm>
            <a:off x="9069478" y="1599129"/>
            <a:ext cx="2457676" cy="2674790"/>
          </a:xfrm>
          <a:prstGeom prst="rect">
            <a:avLst/>
          </a:prstGeom>
        </p:spPr>
      </p:pic>
      <p:pic>
        <p:nvPicPr>
          <p:cNvPr id="20" name="Picture 20">
            <a:extLst>
              <a:ext uri="{FF2B5EF4-FFF2-40B4-BE49-F238E27FC236}">
                <a16:creationId xmlns:a16="http://schemas.microsoft.com/office/drawing/2014/main" id="{F6A64803-6769-44BF-8556-118AAC9376D4}"/>
              </a:ext>
            </a:extLst>
          </p:cNvPr>
          <p:cNvPicPr>
            <a:picLocks noChangeAspect="1"/>
          </p:cNvPicPr>
          <p:nvPr/>
        </p:nvPicPr>
        <p:blipFill>
          <a:blip r:embed="rId9"/>
          <a:stretch>
            <a:fillRect/>
          </a:stretch>
        </p:blipFill>
        <p:spPr>
          <a:xfrm>
            <a:off x="823804" y="2280736"/>
            <a:ext cx="390525" cy="219075"/>
          </a:xfrm>
          <a:prstGeom prst="rect">
            <a:avLst/>
          </a:prstGeom>
        </p:spPr>
      </p:pic>
      <p:sp>
        <p:nvSpPr>
          <p:cNvPr id="21" name="TextBox 20">
            <a:extLst>
              <a:ext uri="{FF2B5EF4-FFF2-40B4-BE49-F238E27FC236}">
                <a16:creationId xmlns:a16="http://schemas.microsoft.com/office/drawing/2014/main" id="{76BD90C2-8D4F-46E7-A04F-FF79D28D989A}"/>
              </a:ext>
            </a:extLst>
          </p:cNvPr>
          <p:cNvSpPr txBox="1"/>
          <p:nvPr/>
        </p:nvSpPr>
        <p:spPr>
          <a:xfrm>
            <a:off x="731837" y="5315398"/>
            <a:ext cx="10795317"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800" b="0" i="0" u="none" baseline="0" dirty="0">
                <a:latin typeface="+mn-lt"/>
                <a:ea typeface="+mn-lt"/>
                <a:cs typeface="+mn-lt"/>
              </a:rPr>
              <a:t>Report from Oct 2020 (survey in spring 2020) = Grote, G., </a:t>
            </a:r>
            <a:r>
              <a:rPr lang="en-GB" sz="800" b="0" i="0" u="none" baseline="0" dirty="0" err="1">
                <a:latin typeface="+mn-lt"/>
                <a:ea typeface="+mn-lt"/>
                <a:cs typeface="+mn-lt"/>
              </a:rPr>
              <a:t>Bienefeld</a:t>
            </a:r>
            <a:r>
              <a:rPr lang="en-GB" sz="800" b="0" i="0" u="none" baseline="0" dirty="0">
                <a:latin typeface="+mn-lt"/>
                <a:ea typeface="+mn-lt"/>
                <a:cs typeface="+mn-lt"/>
              </a:rPr>
              <a:t>, N, Gerlach, A, Medici, G, </a:t>
            </a:r>
            <a:r>
              <a:rPr lang="en-GB" sz="800" b="0" i="0" u="none" baseline="0" dirty="0" err="1">
                <a:latin typeface="+mn-lt"/>
                <a:ea typeface="+mn-lt"/>
                <a:cs typeface="+mn-lt"/>
              </a:rPr>
              <a:t>Kahlert</a:t>
            </a:r>
            <a:r>
              <a:rPr lang="en-GB" sz="800" b="0" i="0" u="none" baseline="0" dirty="0">
                <a:latin typeface="+mn-lt"/>
                <a:ea typeface="+mn-lt"/>
                <a:cs typeface="+mn-lt"/>
              </a:rPr>
              <a:t>, A., </a:t>
            </a:r>
            <a:r>
              <a:rPr lang="en-GB" sz="800" b="0" i="0" u="none" baseline="0" dirty="0" err="1">
                <a:latin typeface="+mn-lt"/>
                <a:ea typeface="+mn-lt"/>
                <a:cs typeface="+mn-lt"/>
              </a:rPr>
              <a:t>Pfrombeck</a:t>
            </a:r>
            <a:r>
              <a:rPr lang="en-GB" sz="800" b="0" i="0" u="none" baseline="0" dirty="0">
                <a:latin typeface="+mn-lt"/>
                <a:ea typeface="+mn-lt"/>
                <a:cs typeface="+mn-lt"/>
              </a:rPr>
              <a:t>, J. (2020). ETH Covid-19 Remote working and virtual collaboration survey Spring 2020. Chair of Work and Organizational Psychology. ETH Zurich. </a:t>
            </a:r>
            <a:endParaRPr lang="en-GB" sz="800" dirty="0">
              <a:cs typeface="Arial"/>
            </a:endParaRPr>
          </a:p>
          <a:p>
            <a:pPr algn="l">
              <a:spcBef>
                <a:spcPts val="1000"/>
              </a:spcBef>
            </a:pPr>
            <a:r>
              <a:rPr lang="en-GB" sz="800" b="0" i="0" u="none" baseline="0" dirty="0">
                <a:latin typeface="+mn-lt"/>
                <a:ea typeface="+mn-lt"/>
                <a:cs typeface="+mn-lt"/>
              </a:rPr>
              <a:t>Report Survey Winter/Spring 2021 = </a:t>
            </a:r>
            <a:r>
              <a:rPr lang="en-GB" sz="800" b="0" i="0" u="none" baseline="0" dirty="0" err="1">
                <a:latin typeface="+mn-lt"/>
                <a:ea typeface="+mn-lt"/>
                <a:cs typeface="+mn-lt"/>
              </a:rPr>
              <a:t>Bienefeld</a:t>
            </a:r>
            <a:r>
              <a:rPr lang="en-GB" sz="800" b="0" i="0" u="none" baseline="0" dirty="0">
                <a:latin typeface="+mn-lt"/>
                <a:ea typeface="+mn-lt"/>
                <a:cs typeface="+mn-lt"/>
              </a:rPr>
              <a:t>, N., Gerlach, A., Grote, G., Koller, L., </a:t>
            </a:r>
            <a:r>
              <a:rPr lang="en-GB" sz="800" b="0" i="0" u="none" baseline="0" dirty="0" err="1">
                <a:latin typeface="+mn-lt"/>
                <a:ea typeface="+mn-lt"/>
                <a:cs typeface="+mn-lt"/>
              </a:rPr>
              <a:t>Pfrombeck</a:t>
            </a:r>
            <a:r>
              <a:rPr lang="en-GB" sz="800" b="0" i="0" u="none" baseline="0" dirty="0">
                <a:latin typeface="+mn-lt"/>
                <a:ea typeface="+mn-lt"/>
                <a:cs typeface="+mn-lt"/>
              </a:rPr>
              <a:t>, J., Schneider, L. (2021). ETH Covid-19 Remote working and virtual collaboration survey results Winter 2021. Chair of Work and Organizational Psychology. ETH Zurich.</a:t>
            </a:r>
          </a:p>
          <a:p>
            <a:pPr algn="l">
              <a:spcBef>
                <a:spcPts val="1000"/>
              </a:spcBef>
            </a:pPr>
            <a:r>
              <a:rPr lang="en-GB" sz="900" b="0" i="0" u="none" baseline="0" dirty="0">
                <a:latin typeface="+mn-lt"/>
                <a:ea typeface="+mn-lt"/>
                <a:cs typeface="+mn-lt"/>
                <a:hlinkClick r:id="rId10"/>
              </a:rPr>
              <a:t>https://ethz.ch/content/dam/ethz/associates/services/Anstellung-Arbeiten/Rund_um_die_Anstellung/anstellung-und-arbeit/flexibles-arbeiten/future-of-work/FoW_Umfrage_2022_Auswertung_EN.pdf</a:t>
            </a:r>
            <a:endParaRPr lang="en-GB" sz="900" b="0" i="0" u="none" baseline="0" dirty="0">
              <a:latin typeface="+mn-lt"/>
              <a:ea typeface="+mn-lt"/>
              <a:cs typeface="+mn-lt"/>
            </a:endParaRPr>
          </a:p>
          <a:p>
            <a:pPr algn="l">
              <a:spcBef>
                <a:spcPts val="1000"/>
              </a:spcBef>
            </a:pPr>
            <a:endParaRPr lang="en-GB" dirty="0"/>
          </a:p>
        </p:txBody>
      </p:sp>
      <p:pic>
        <p:nvPicPr>
          <p:cNvPr id="3" name="Picture 8">
            <a:extLst>
              <a:ext uri="{FF2B5EF4-FFF2-40B4-BE49-F238E27FC236}">
                <a16:creationId xmlns:a16="http://schemas.microsoft.com/office/drawing/2014/main" id="{4791305B-96B8-4804-92DD-3318E58CFD9D}"/>
              </a:ext>
            </a:extLst>
          </p:cNvPr>
          <p:cNvPicPr>
            <a:picLocks noChangeAspect="1"/>
          </p:cNvPicPr>
          <p:nvPr/>
        </p:nvPicPr>
        <p:blipFill>
          <a:blip r:embed="rId11"/>
          <a:stretch>
            <a:fillRect/>
          </a:stretch>
        </p:blipFill>
        <p:spPr>
          <a:xfrm>
            <a:off x="782775" y="4594920"/>
            <a:ext cx="438150" cy="323850"/>
          </a:xfrm>
          <a:prstGeom prst="rect">
            <a:avLst/>
          </a:prstGeom>
        </p:spPr>
      </p:pic>
      <p:pic>
        <p:nvPicPr>
          <p:cNvPr id="24" name="Graphic 23" descr="Badge Tick outline">
            <a:extLst>
              <a:ext uri="{FF2B5EF4-FFF2-40B4-BE49-F238E27FC236}">
                <a16:creationId xmlns:a16="http://schemas.microsoft.com/office/drawing/2014/main" id="{7BCC7FA2-C324-C217-569B-CB43F3B8989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6187" y="2917691"/>
            <a:ext cx="642650" cy="642650"/>
          </a:xfrm>
          <a:prstGeom prst="rect">
            <a:avLst/>
          </a:prstGeom>
        </p:spPr>
      </p:pic>
    </p:spTree>
    <p:extLst>
      <p:ext uri="{BB962C8B-B14F-4D97-AF65-F5344CB8AC3E}">
        <p14:creationId xmlns:p14="http://schemas.microsoft.com/office/powerpoint/2010/main" val="128911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4319D52-99EE-EE4B-35C3-4C037FDB14E5}"/>
              </a:ext>
            </a:extLst>
          </p:cNvPr>
          <p:cNvGraphicFramePr>
            <a:graphicFrameLocks noChangeAspect="1"/>
          </p:cNvGraphicFramePr>
          <p:nvPr>
            <p:custDataLst>
              <p:tags r:id="rId1"/>
            </p:custDataLst>
            <p:extLst>
              <p:ext uri="{D42A27DB-BD31-4B8C-83A1-F6EECF244321}">
                <p14:modId xmlns:p14="http://schemas.microsoft.com/office/powerpoint/2010/main" val="1807292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84319D52-99EE-EE4B-35C3-4C037FDB1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A1C4D2-CFB3-461C-AF47-77E2FE13A7D1}"/>
              </a:ext>
            </a:extLst>
          </p:cNvPr>
          <p:cNvSpPr>
            <a:spLocks noGrp="1"/>
          </p:cNvSpPr>
          <p:nvPr>
            <p:ph type="title"/>
          </p:nvPr>
        </p:nvSpPr>
        <p:spPr/>
        <p:txBody>
          <a:bodyPr vert="horz"/>
          <a:lstStyle/>
          <a:p>
            <a:pPr algn="l"/>
            <a:r>
              <a:rPr lang="en-GB" b="0" i="0" u="none" baseline="0" dirty="0"/>
              <a:t>Questions for supervisors to ask themselves while preparing </a:t>
            </a:r>
            <a:br>
              <a:rPr lang="en-GB" dirty="0"/>
            </a:br>
            <a:r>
              <a:rPr lang="en-GB" b="0" i="0" u="none" baseline="0" dirty="0"/>
              <a:t>for the workshop </a:t>
            </a:r>
            <a:endParaRPr lang="en-GB" dirty="0"/>
          </a:p>
        </p:txBody>
      </p:sp>
      <p:sp>
        <p:nvSpPr>
          <p:cNvPr id="3" name="Inhaltsplatzhalter 2">
            <a:extLst>
              <a:ext uri="{FF2B5EF4-FFF2-40B4-BE49-F238E27FC236}">
                <a16:creationId xmlns:a16="http://schemas.microsoft.com/office/drawing/2014/main" id="{0388AFFD-3076-49B5-B0DE-559A52DA68A3}"/>
              </a:ext>
            </a:extLst>
          </p:cNvPr>
          <p:cNvSpPr>
            <a:spLocks noGrp="1"/>
          </p:cNvSpPr>
          <p:nvPr>
            <p:ph idx="1"/>
          </p:nvPr>
        </p:nvSpPr>
        <p:spPr/>
        <p:txBody>
          <a:bodyPr vert="horz" lIns="0" tIns="0" rIns="0" bIns="0" rtlCol="0" anchor="t">
            <a:noAutofit/>
          </a:bodyPr>
          <a:lstStyle/>
          <a:p>
            <a:pPr marL="0" indent="0" algn="l">
              <a:buNone/>
            </a:pPr>
            <a:endParaRPr lang="en-GB" dirty="0">
              <a:cs typeface="Arial"/>
            </a:endParaRPr>
          </a:p>
          <a:p>
            <a:pPr marL="0" indent="0" algn="l">
              <a:buNone/>
            </a:pPr>
            <a:endParaRPr lang="en-GB" dirty="0">
              <a:cs typeface="Arial"/>
            </a:endParaRPr>
          </a:p>
          <a:p>
            <a:pPr marL="539750" lvl="1" indent="0" algn="l">
              <a:buNone/>
            </a:pPr>
            <a:endParaRPr lang="en-GB" dirty="0">
              <a:cs typeface="Arial"/>
            </a:endParaRPr>
          </a:p>
          <a:p>
            <a:pPr marL="825500" lvl="1" indent="-285750" algn="l">
              <a:buFont typeface="Arial" panose="020B0604020202020204" pitchFamily="34" charset="0"/>
              <a:buChar char="•"/>
            </a:pPr>
            <a:endParaRPr lang="en-GB" dirty="0">
              <a:cs typeface="Arial"/>
            </a:endParaRPr>
          </a:p>
          <a:p>
            <a:pPr marL="825500" lvl="1" indent="-285750" algn="l">
              <a:buFont typeface="Arial" panose="020B0604020202020204" pitchFamily="34" charset="0"/>
              <a:buChar char="•"/>
            </a:pPr>
            <a:endParaRPr lang="en-GB" dirty="0">
              <a:highlight>
                <a:srgbClr val="FFFF00"/>
              </a:highlight>
              <a:cs typeface="Arial" panose="020B0604020202020204"/>
            </a:endParaRPr>
          </a:p>
        </p:txBody>
      </p:sp>
      <p:sp>
        <p:nvSpPr>
          <p:cNvPr id="4" name="Datumsplatzhalter 3">
            <a:extLst>
              <a:ext uri="{FF2B5EF4-FFF2-40B4-BE49-F238E27FC236}">
                <a16:creationId xmlns:a16="http://schemas.microsoft.com/office/drawing/2014/main" id="{9CA1C58A-C168-4EDF-B8E5-CC4D577EF906}"/>
              </a:ext>
            </a:extLst>
          </p:cNvPr>
          <p:cNvSpPr>
            <a:spLocks noGrp="1"/>
          </p:cNvSpPr>
          <p:nvPr>
            <p:ph type="dt" sz="half" idx="10"/>
          </p:nvPr>
        </p:nvSpPr>
        <p:spPr/>
        <p:txBody>
          <a:bodyPr/>
          <a:lstStyle/>
          <a:p>
            <a:pPr algn="l"/>
            <a:fld id="{70880723-3FA6-4A5D-9B15-19F822D9EE1E}" type="datetime1">
              <a:rPr lang="en-GB" smtClean="0"/>
              <a:pPr algn="l"/>
              <a:t>29/02/2024</a:t>
            </a:fld>
            <a:endParaRPr lang="en-GB" noProof="0" dirty="0"/>
          </a:p>
        </p:txBody>
      </p:sp>
      <p:sp>
        <p:nvSpPr>
          <p:cNvPr id="5" name="Fußzeilenplatzhalter 4">
            <a:extLst>
              <a:ext uri="{FF2B5EF4-FFF2-40B4-BE49-F238E27FC236}">
                <a16:creationId xmlns:a16="http://schemas.microsoft.com/office/drawing/2014/main" id="{85D9BC9D-3DA7-45F6-B926-A87C277DD9F8}"/>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a:extLst>
              <a:ext uri="{FF2B5EF4-FFF2-40B4-BE49-F238E27FC236}">
                <a16:creationId xmlns:a16="http://schemas.microsoft.com/office/drawing/2014/main" id="{10B85623-378B-4EB9-AA11-55C1EBD36CD0}"/>
              </a:ext>
            </a:extLst>
          </p:cNvPr>
          <p:cNvSpPr>
            <a:spLocks noGrp="1"/>
          </p:cNvSpPr>
          <p:nvPr>
            <p:ph type="sldNum" sz="quarter" idx="12"/>
          </p:nvPr>
        </p:nvSpPr>
        <p:spPr/>
        <p:txBody>
          <a:bodyPr/>
          <a:lstStyle/>
          <a:p>
            <a:pPr algn="r"/>
            <a:fld id="{5ACA52AF-F19D-405C-AD5F-7D94B96A5CC3}" type="slidenum">
              <a:rPr lang="en-GB" smtClean="0"/>
              <a:pPr algn="r"/>
              <a:t>5</a:t>
            </a:fld>
            <a:endParaRPr lang="en-GB" noProof="0" dirty="0"/>
          </a:p>
        </p:txBody>
      </p:sp>
      <p:sp>
        <p:nvSpPr>
          <p:cNvPr id="8" name="Rechteck 7">
            <a:extLst>
              <a:ext uri="{FF2B5EF4-FFF2-40B4-BE49-F238E27FC236}">
                <a16:creationId xmlns:a16="http://schemas.microsoft.com/office/drawing/2014/main" id="{3F810E95-1E33-40B3-B601-24721E2C7DA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graphicFrame>
        <p:nvGraphicFramePr>
          <p:cNvPr id="10" name="Table 9">
            <a:extLst>
              <a:ext uri="{FF2B5EF4-FFF2-40B4-BE49-F238E27FC236}">
                <a16:creationId xmlns:a16="http://schemas.microsoft.com/office/drawing/2014/main" id="{0EF152D8-7E22-405A-9145-E64DA0C4FFB0}"/>
              </a:ext>
            </a:extLst>
          </p:cNvPr>
          <p:cNvGraphicFramePr>
            <a:graphicFrameLocks noGrp="1"/>
          </p:cNvGraphicFramePr>
          <p:nvPr>
            <p:extLst>
              <p:ext uri="{D42A27DB-BD31-4B8C-83A1-F6EECF244321}">
                <p14:modId xmlns:p14="http://schemas.microsoft.com/office/powerpoint/2010/main" val="1120075769"/>
              </p:ext>
            </p:extLst>
          </p:nvPr>
        </p:nvGraphicFramePr>
        <p:xfrm>
          <a:off x="807982" y="1335212"/>
          <a:ext cx="10298600" cy="4516755"/>
        </p:xfrm>
        <a:graphic>
          <a:graphicData uri="http://schemas.openxmlformats.org/drawingml/2006/table">
            <a:tbl>
              <a:tblPr firstRow="1" bandRow="1">
                <a:tableStyleId>{5C22544A-7EE6-4342-B048-85BDC9FD1C3A}</a:tableStyleId>
              </a:tblPr>
              <a:tblGrid>
                <a:gridCol w="4795344">
                  <a:extLst>
                    <a:ext uri="{9D8B030D-6E8A-4147-A177-3AD203B41FA5}">
                      <a16:colId xmlns:a16="http://schemas.microsoft.com/office/drawing/2014/main" val="3470182746"/>
                    </a:ext>
                  </a:extLst>
                </a:gridCol>
                <a:gridCol w="5503256">
                  <a:extLst>
                    <a:ext uri="{9D8B030D-6E8A-4147-A177-3AD203B41FA5}">
                      <a16:colId xmlns:a16="http://schemas.microsoft.com/office/drawing/2014/main" val="1297534281"/>
                    </a:ext>
                  </a:extLst>
                </a:gridCol>
              </a:tblGrid>
              <a:tr h="3571875">
                <a:tc>
                  <a:txBody>
                    <a:bodyPr/>
                    <a:lstStyle/>
                    <a:p>
                      <a:pPr algn="l" rtl="0" fontAlgn="base"/>
                      <a:r>
                        <a:rPr lang="en-GB" sz="1400" b="1" i="0" u="none" baseline="0" dirty="0">
                          <a:effectLst/>
                        </a:rPr>
                        <a:t>Myself</a:t>
                      </a:r>
                      <a:br>
                        <a:rPr lang="en-GB" sz="1400" dirty="0">
                          <a:effectLst/>
                        </a:rPr>
                      </a:br>
                      <a:r>
                        <a:rPr lang="en-GB" sz="1400" b="1" i="0" u="none" baseline="0" dirty="0">
                          <a:effectLst/>
                        </a:rPr>
                        <a:t>Individual preferences and situation</a:t>
                      </a:r>
                    </a:p>
                    <a:p>
                      <a:pPr marL="342900" lvl="0" indent="-342900" algn="l" rtl="0" fontAlgn="base">
                        <a:buFont typeface="Arial" panose="020B0604020202020204" pitchFamily="34" charset="0"/>
                        <a:buChar char="•"/>
                      </a:pPr>
                      <a:r>
                        <a:rPr lang="en-GB" sz="1400" b="0" i="0" u="none" baseline="0" dirty="0">
                          <a:effectLst/>
                        </a:rPr>
                        <a:t>What way of working facilitates my productivity? How is it for other people?</a:t>
                      </a:r>
                    </a:p>
                    <a:p>
                      <a:pPr marL="342900" lvl="0" indent="-342900" algn="l" rtl="0" fontAlgn="base">
                        <a:buFont typeface="Arial" panose="020B0604020202020204" pitchFamily="34" charset="0"/>
                        <a:buChar char="•"/>
                      </a:pPr>
                      <a:r>
                        <a:rPr lang="en-GB" sz="1400" b="0" i="0" u="none" baseline="0" dirty="0">
                          <a:effectLst/>
                        </a:rPr>
                        <a:t>How do I organise myself/my duties? How do other people do it?</a:t>
                      </a:r>
                    </a:p>
                    <a:p>
                      <a:pPr marL="342900" lvl="0" indent="-342900" algn="l" rtl="0" fontAlgn="base">
                        <a:buFont typeface="Arial" panose="020B0604020202020204" pitchFamily="34" charset="0"/>
                        <a:buChar char="•"/>
                      </a:pPr>
                      <a:r>
                        <a:rPr lang="en-GB" sz="1400" b="0" i="0" u="none" baseline="0" dirty="0">
                          <a:effectLst/>
                        </a:rPr>
                        <a:t>How can I ensure my wellbeing in the long-term? </a:t>
                      </a:r>
                    </a:p>
                    <a:p>
                      <a:pPr marL="342900" lvl="0" indent="-342900" algn="l" rtl="0" fontAlgn="base">
                        <a:buFont typeface="Arial" panose="020B0604020202020204" pitchFamily="34" charset="0"/>
                        <a:buChar char="•"/>
                      </a:pPr>
                      <a:r>
                        <a:rPr lang="en-GB" sz="1400" b="0" i="0" u="none" baseline="0" dirty="0">
                          <a:effectLst/>
                        </a:rPr>
                        <a:t>What is my family and caretaking situation?</a:t>
                      </a:r>
                    </a:p>
                    <a:p>
                      <a:pPr marL="0" lvl="0" indent="0" algn="l" rtl="0" fontAlgn="base">
                        <a:buFont typeface="Arial" panose="020B0604020202020204" pitchFamily="34" charset="0"/>
                        <a:buNone/>
                      </a:pPr>
                      <a:endParaRPr lang="en-GB" sz="1400" dirty="0">
                        <a:effectLst/>
                      </a:endParaRPr>
                    </a:p>
                    <a:p>
                      <a:pPr algn="l" rtl="0" fontAlgn="base"/>
                      <a:r>
                        <a:rPr lang="en-GB" sz="1400" b="1" i="0" u="none" baseline="0" dirty="0">
                          <a:effectLst/>
                        </a:rPr>
                        <a:t>My duties as a supervisor </a:t>
                      </a:r>
                    </a:p>
                    <a:p>
                      <a:pPr marL="342900" lvl="0" indent="-342900" algn="l" rtl="0" fontAlgn="base">
                        <a:buFont typeface="Arial" panose="020B0604020202020204" pitchFamily="34" charset="0"/>
                        <a:buChar char="•"/>
                      </a:pPr>
                      <a:r>
                        <a:rPr lang="en-GB" sz="1400" b="0" i="0" u="none" baseline="0" dirty="0">
                          <a:effectLst/>
                        </a:rPr>
                        <a:t>How should I adapt my management style to fit the needs of my team members? </a:t>
                      </a:r>
                    </a:p>
                    <a:p>
                      <a:pPr marL="342900" lvl="0" indent="-342900" algn="l" rtl="0" fontAlgn="base">
                        <a:buFont typeface="Arial" panose="020B0604020202020204" pitchFamily="34" charset="0"/>
                        <a:buChar char="•"/>
                      </a:pPr>
                      <a:r>
                        <a:rPr lang="en-GB" sz="1400" b="0" i="0" u="none" baseline="0" dirty="0">
                          <a:effectLst/>
                        </a:rPr>
                        <a:t>How can I structure recruitment, on-boarding and supporting / development processes? </a:t>
                      </a:r>
                    </a:p>
                    <a:p>
                      <a:pPr marL="342900" lvl="0" indent="-342900" algn="l" rtl="0" fontAlgn="base">
                        <a:buFont typeface="Arial" panose="020B0604020202020204" pitchFamily="34" charset="0"/>
                        <a:buChar char="•"/>
                      </a:pPr>
                      <a:r>
                        <a:rPr lang="en-GB" sz="1400" b="0" i="0" u="none" baseline="0" dirty="0">
                          <a:effectLst/>
                          <a:latin typeface="Arial"/>
                        </a:rPr>
                        <a:t>How can I ensure people`s well-being is being adequately considered?</a:t>
                      </a:r>
                      <a:endParaRPr lang="en-GB" sz="1400" b="0" i="0" dirty="0">
                        <a:effectLst/>
                        <a:latin typeface="Arial"/>
                      </a:endParaRPr>
                    </a:p>
                  </a:txBody>
                  <a:tcPr/>
                </a:tc>
                <a:tc>
                  <a:txBody>
                    <a:bodyPr/>
                    <a:lstStyle/>
                    <a:p>
                      <a:pPr algn="l" rtl="0" fontAlgn="base"/>
                      <a:r>
                        <a:rPr lang="en-GB" sz="1400" b="1" i="0" u="none" baseline="0" dirty="0">
                          <a:effectLst/>
                        </a:rPr>
                        <a:t>My team </a:t>
                      </a:r>
                      <a:br>
                        <a:rPr lang="en-GB" sz="1400" dirty="0">
                          <a:effectLst/>
                        </a:rPr>
                      </a:br>
                      <a:r>
                        <a:rPr lang="en-GB" sz="1400" b="1" i="0" u="none" baseline="0" dirty="0">
                          <a:effectLst/>
                        </a:rPr>
                        <a:t> </a:t>
                      </a:r>
                    </a:p>
                    <a:p>
                      <a:pPr marL="342900" lvl="0" indent="-342900" algn="l" rtl="0" fontAlgn="base">
                        <a:buFont typeface="Arial" panose="020B0604020202020204" pitchFamily="34" charset="0"/>
                        <a:buChar char="•"/>
                      </a:pPr>
                      <a:r>
                        <a:rPr lang="en-GB" sz="1400" b="0" i="0" u="none" baseline="0" dirty="0">
                          <a:effectLst/>
                        </a:rPr>
                        <a:t>How much flexibility does our work allow for? </a:t>
                      </a:r>
                    </a:p>
                    <a:p>
                      <a:pPr marL="342900" lvl="0" indent="-342900" algn="l" rtl="0">
                        <a:buFont typeface="Arial" panose="020B0604020202020204" pitchFamily="34" charset="0"/>
                        <a:buChar char="•"/>
                      </a:pPr>
                      <a:r>
                        <a:rPr lang="en-GB" sz="1400" b="0" i="0" u="none" baseline="0" dirty="0">
                          <a:effectLst/>
                        </a:rPr>
                        <a:t>What interfaces/interdependencies with others should we keep in mind? How will these be influenced by our way of working?</a:t>
                      </a:r>
                    </a:p>
                    <a:p>
                      <a:pPr marL="342900" lvl="0" indent="-342900" algn="l" rtl="0" fontAlgn="base">
                        <a:buFont typeface="Arial" panose="020B0604020202020204" pitchFamily="34" charset="0"/>
                        <a:buChar char="•"/>
                      </a:pPr>
                      <a:r>
                        <a:rPr lang="en-GB" sz="1400" b="0" i="0" u="none" baseline="0" dirty="0">
                          <a:effectLst/>
                        </a:rPr>
                        <a:t>How should team members communicate with each other? </a:t>
                      </a:r>
                    </a:p>
                    <a:p>
                      <a:pPr marL="342900" lvl="0" indent="-342900" algn="l" rtl="0" fontAlgn="base">
                        <a:buFont typeface="Arial" panose="020B0604020202020204" pitchFamily="34" charset="0"/>
                        <a:buChar char="•"/>
                      </a:pPr>
                      <a:r>
                        <a:rPr lang="en-GB" sz="1400" b="0" i="0" u="none" baseline="0" dirty="0">
                          <a:effectLst/>
                        </a:rPr>
                        <a:t>How can we ensure that social/interpersonal interaction takes place? </a:t>
                      </a:r>
                    </a:p>
                    <a:p>
                      <a:pPr marL="342900" lvl="0" indent="-342900" algn="l" rtl="0" fontAlgn="base">
                        <a:buFont typeface="Arial" panose="020B0604020202020204" pitchFamily="34" charset="0"/>
                        <a:buChar char="•"/>
                      </a:pPr>
                      <a:r>
                        <a:rPr lang="en-GB" sz="1400" b="0" i="0" u="none" baseline="0" dirty="0">
                          <a:effectLst/>
                        </a:rPr>
                        <a:t>Should the team have specified in-office days, or should everyone decide for themselves? </a:t>
                      </a:r>
                    </a:p>
                    <a:p>
                      <a:pPr marL="342900" lvl="0" indent="-342900" algn="l" rtl="0" fontAlgn="base">
                        <a:buFont typeface="Arial" panose="020B0604020202020204" pitchFamily="34" charset="0"/>
                        <a:buChar char="•"/>
                      </a:pPr>
                      <a:r>
                        <a:rPr lang="en-GB" sz="1400" b="0" i="0" u="none" baseline="0" dirty="0">
                          <a:effectLst/>
                        </a:rPr>
                        <a:t>How would I like team meetings to be conducted? Will everyone be present on site, or can meetings be conducted online/in a hybrid fashion? </a:t>
                      </a:r>
                    </a:p>
                    <a:p>
                      <a:pPr marL="342900" lvl="0" indent="-342900" algn="l" rtl="0" fontAlgn="base">
                        <a:buFont typeface="Arial" panose="020B0604020202020204" pitchFamily="34" charset="0"/>
                        <a:buChar char="•"/>
                      </a:pPr>
                      <a:r>
                        <a:rPr lang="en-GB" sz="1400" b="0" i="0" u="none" baseline="0" dirty="0">
                          <a:effectLst/>
                        </a:rPr>
                        <a:t>How can we create transparency with respect to work processes? </a:t>
                      </a:r>
                    </a:p>
                    <a:p>
                      <a:pPr marL="342900" lvl="0" indent="-342900" algn="l" rtl="0" fontAlgn="base">
                        <a:buFont typeface="Arial" panose="020B0604020202020204" pitchFamily="34" charset="0"/>
                        <a:buChar char="•"/>
                      </a:pPr>
                      <a:r>
                        <a:rPr lang="en-GB" sz="1400" b="0" i="0" u="none" baseline="0" dirty="0">
                          <a:effectLst/>
                        </a:rPr>
                        <a:t>How can we integrate new members into the team?</a:t>
                      </a:r>
                      <a:r>
                        <a:rPr lang="en-GB" sz="1400" b="1" i="0" u="none" baseline="0" dirty="0">
                          <a:effectLst/>
                        </a:rPr>
                        <a:t> </a:t>
                      </a:r>
                      <a:endParaRPr lang="en-GB" sz="1400" b="0" i="0" dirty="0">
                        <a:effectLst/>
                        <a:latin typeface="Arial"/>
                      </a:endParaRPr>
                    </a:p>
                  </a:txBody>
                  <a:tcPr/>
                </a:tc>
                <a:extLst>
                  <a:ext uri="{0D108BD9-81ED-4DB2-BD59-A6C34878D82A}">
                    <a16:rowId xmlns:a16="http://schemas.microsoft.com/office/drawing/2014/main" val="4091442589"/>
                  </a:ext>
                </a:extLst>
              </a:tr>
              <a:tr h="864769">
                <a:tc>
                  <a:txBody>
                    <a:bodyPr/>
                    <a:lstStyle/>
                    <a:p>
                      <a:pPr algn="l" rtl="0" fontAlgn="base"/>
                      <a:r>
                        <a:rPr lang="en-GB" sz="1400" b="1" i="0" u="none" baseline="0" dirty="0">
                          <a:effectLst/>
                        </a:rPr>
                        <a:t>Infrastructure </a:t>
                      </a:r>
                      <a:endParaRPr lang="en-GB" sz="1400" dirty="0"/>
                    </a:p>
                    <a:p>
                      <a:pPr marL="342900" lvl="0" indent="-342900" algn="l" rtl="0" fontAlgn="base">
                        <a:buFont typeface="Arial" panose="020B0604020202020204" pitchFamily="34" charset="0"/>
                        <a:buChar char="•"/>
                      </a:pPr>
                      <a:r>
                        <a:rPr lang="en-GB" sz="1400" b="0" i="0" u="none" baseline="0" dirty="0">
                          <a:effectLst/>
                        </a:rPr>
                        <a:t>How does the infrastructure support our mode of working? </a:t>
                      </a:r>
                    </a:p>
                    <a:p>
                      <a:pPr marL="342900" lvl="0" indent="-342900" algn="l" rtl="0" fontAlgn="base">
                        <a:buFont typeface="Arial" panose="020B0604020202020204" pitchFamily="34" charset="0"/>
                        <a:buChar char="•"/>
                      </a:pPr>
                      <a:r>
                        <a:rPr lang="en-GB" sz="1400" b="0" i="0" u="none" baseline="0" dirty="0">
                          <a:effectLst/>
                        </a:rPr>
                        <a:t>Which adjustments are necessary/possible?</a:t>
                      </a:r>
                      <a:endParaRPr lang="en-GB" sz="1400" b="0" i="0" dirty="0">
                        <a:effectLst/>
                        <a:latin typeface="Arial"/>
                      </a:endParaRPr>
                    </a:p>
                  </a:txBody>
                  <a:tcPr/>
                </a:tc>
                <a:tc>
                  <a:txBody>
                    <a:bodyPr/>
                    <a:lstStyle/>
                    <a:p>
                      <a:pPr algn="l" rtl="0" fontAlgn="base"/>
                      <a:r>
                        <a:rPr lang="en-GB" sz="1400" b="1" i="0" u="none" baseline="0" dirty="0">
                          <a:effectLst/>
                        </a:rPr>
                        <a:t>Technology </a:t>
                      </a:r>
                    </a:p>
                    <a:p>
                      <a:pPr marL="342900" lvl="0" indent="-342900" algn="l" rtl="0" fontAlgn="base">
                        <a:buFont typeface="Arial" panose="020B0604020202020204" pitchFamily="34" charset="0"/>
                        <a:buChar char="•"/>
                      </a:pPr>
                      <a:r>
                        <a:rPr lang="en-GB" sz="1400" b="0" i="0" u="none" baseline="0" dirty="0">
                          <a:effectLst/>
                        </a:rPr>
                        <a:t>What communication channels do we use within the team? </a:t>
                      </a:r>
                    </a:p>
                    <a:p>
                      <a:pPr marL="342900" lvl="0" indent="-342900" algn="l" rtl="0" fontAlgn="base">
                        <a:buFont typeface="Arial" panose="020B0604020202020204" pitchFamily="34" charset="0"/>
                        <a:buChar char="•"/>
                      </a:pPr>
                      <a:r>
                        <a:rPr lang="en-GB" sz="1400" b="0" i="0" u="none" baseline="0" dirty="0">
                          <a:effectLst/>
                        </a:rPr>
                        <a:t>Which technologies/instruments/tools do we use for working together and for planning purposes?</a:t>
                      </a:r>
                      <a:endParaRPr lang="en-GB" sz="1400" b="0" i="0" dirty="0">
                        <a:effectLst/>
                        <a:latin typeface="Arial"/>
                      </a:endParaRPr>
                    </a:p>
                  </a:txBody>
                  <a:tcPr/>
                </a:tc>
                <a:extLst>
                  <a:ext uri="{0D108BD9-81ED-4DB2-BD59-A6C34878D82A}">
                    <a16:rowId xmlns:a16="http://schemas.microsoft.com/office/drawing/2014/main" val="3813385813"/>
                  </a:ext>
                </a:extLst>
              </a:tr>
            </a:tbl>
          </a:graphicData>
        </a:graphic>
      </p:graphicFrame>
    </p:spTree>
    <p:extLst>
      <p:ext uri="{BB962C8B-B14F-4D97-AF65-F5344CB8AC3E}">
        <p14:creationId xmlns:p14="http://schemas.microsoft.com/office/powerpoint/2010/main" val="4240256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29420C-BACC-45F4-B59F-60328FEAACD1}"/>
              </a:ext>
            </a:extLst>
          </p:cNvPr>
          <p:cNvGraphicFramePr>
            <a:graphicFrameLocks noChangeAspect="1"/>
          </p:cNvGraphicFramePr>
          <p:nvPr>
            <p:custDataLst>
              <p:tags r:id="rId1"/>
            </p:custDataLst>
            <p:extLst>
              <p:ext uri="{D42A27DB-BD31-4B8C-83A1-F6EECF244321}">
                <p14:modId xmlns:p14="http://schemas.microsoft.com/office/powerpoint/2010/main" val="239149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029420C-BACC-45F4-B59F-60328FEAAC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Inhaltsplatzhalter 2">
            <a:extLst>
              <a:ext uri="{FF2B5EF4-FFF2-40B4-BE49-F238E27FC236}">
                <a16:creationId xmlns:a16="http://schemas.microsoft.com/office/drawing/2014/main" id="{5344F9C8-B127-4FF7-8C03-12CC8EFA99B9}"/>
              </a:ext>
            </a:extLst>
          </p:cNvPr>
          <p:cNvSpPr>
            <a:spLocks noGrp="1"/>
          </p:cNvSpPr>
          <p:nvPr>
            <p:ph idx="1"/>
          </p:nvPr>
        </p:nvSpPr>
        <p:spPr>
          <a:xfrm>
            <a:off x="731837" y="1412875"/>
            <a:ext cx="10728325" cy="4680000"/>
          </a:xfrm>
        </p:spPr>
        <p:txBody>
          <a:bodyPr/>
          <a:lstStyle/>
          <a:p>
            <a:endParaRPr lang="en-GB" dirty="0"/>
          </a:p>
        </p:txBody>
      </p:sp>
      <p:sp>
        <p:nvSpPr>
          <p:cNvPr id="2" name="Titel 1"/>
          <p:cNvSpPr>
            <a:spLocks noGrp="1"/>
          </p:cNvSpPr>
          <p:nvPr>
            <p:ph type="title"/>
          </p:nvPr>
        </p:nvSpPr>
        <p:spPr/>
        <p:txBody>
          <a:bodyPr vert="horz"/>
          <a:lstStyle/>
          <a:p>
            <a:pPr algn="l"/>
            <a:r>
              <a:rPr lang="en-GB" b="0" i="0" u="none" baseline="0" dirty="0">
                <a:latin typeface="Arial"/>
                <a:ea typeface="Arial"/>
                <a:cs typeface="Arial"/>
              </a:rPr>
              <a:t>Preparing for the workshop</a:t>
            </a:r>
            <a:endParaRPr lang="en-GB" dirty="0">
              <a:cs typeface="Arial"/>
            </a:endParaRPr>
          </a:p>
        </p:txBody>
      </p:sp>
      <p:sp>
        <p:nvSpPr>
          <p:cNvPr id="4" name="Datumsplatzhalter 3"/>
          <p:cNvSpPr>
            <a:spLocks noGrp="1"/>
          </p:cNvSpPr>
          <p:nvPr>
            <p:ph type="dt" sz="half" idx="10"/>
          </p:nvPr>
        </p:nvSpPr>
        <p:spPr/>
        <p:txBody>
          <a:bodyPr/>
          <a:lstStyle/>
          <a:p>
            <a:pPr algn="l"/>
            <a:fld id="{4CF59CDF-333E-4C99-98BA-73B19A141521}"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6</a:t>
            </a:fld>
            <a:endParaRPr lang="en-GB"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302790781"/>
              </p:ext>
            </p:extLst>
          </p:nvPr>
        </p:nvGraphicFramePr>
        <p:xfrm>
          <a:off x="729342" y="1412876"/>
          <a:ext cx="10728325" cy="4776934"/>
        </p:xfrm>
        <a:graphic>
          <a:graphicData uri="http://schemas.openxmlformats.org/drawingml/2006/table">
            <a:tbl>
              <a:tblPr firstRow="1" bandRow="1">
                <a:tableStyleId>{5C22544A-7EE6-4342-B048-85BDC9FD1C3A}</a:tableStyleId>
              </a:tblPr>
              <a:tblGrid>
                <a:gridCol w="1600992">
                  <a:extLst>
                    <a:ext uri="{9D8B030D-6E8A-4147-A177-3AD203B41FA5}">
                      <a16:colId xmlns:a16="http://schemas.microsoft.com/office/drawing/2014/main" val="1714132888"/>
                    </a:ext>
                  </a:extLst>
                </a:gridCol>
                <a:gridCol w="4806190">
                  <a:extLst>
                    <a:ext uri="{9D8B030D-6E8A-4147-A177-3AD203B41FA5}">
                      <a16:colId xmlns:a16="http://schemas.microsoft.com/office/drawing/2014/main" val="1802429230"/>
                    </a:ext>
                  </a:extLst>
                </a:gridCol>
                <a:gridCol w="4321143">
                  <a:extLst>
                    <a:ext uri="{9D8B030D-6E8A-4147-A177-3AD203B41FA5}">
                      <a16:colId xmlns:a16="http://schemas.microsoft.com/office/drawing/2014/main" val="2061069242"/>
                    </a:ext>
                  </a:extLst>
                </a:gridCol>
              </a:tblGrid>
              <a:tr h="266016">
                <a:tc>
                  <a:txBody>
                    <a:bodyPr/>
                    <a:lstStyle/>
                    <a:p>
                      <a:pPr marL="0" algn="l" rtl="0" eaLnBrk="1" latinLnBrk="0" hangingPunct="1">
                        <a:spcBef>
                          <a:spcPts val="0"/>
                        </a:spcBef>
                        <a:spcAft>
                          <a:spcPts val="0"/>
                        </a:spcAft>
                      </a:pPr>
                      <a:r>
                        <a:rPr lang="en-GB" sz="1600" b="1" i="0" u="none" kern="1200" baseline="0" dirty="0">
                          <a:effectLst/>
                        </a:rPr>
                        <a:t>When</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What to do</a:t>
                      </a:r>
                      <a:endParaRPr lang="en-GB" sz="1600" noProof="0" dirty="0">
                        <a:effectLst/>
                      </a:endParaRPr>
                    </a:p>
                  </a:txBody>
                  <a:tcPr marL="72000" marR="0" marT="0" marB="0" anchor="ctr"/>
                </a:tc>
                <a:tc>
                  <a:txBody>
                    <a:bodyPr/>
                    <a:lstStyle/>
                    <a:p>
                      <a:pPr marL="0" algn="l" rtl="0" eaLnBrk="1" latinLnBrk="0" hangingPunct="1">
                        <a:spcBef>
                          <a:spcPts val="0"/>
                        </a:spcBef>
                        <a:spcAft>
                          <a:spcPts val="0"/>
                        </a:spcAft>
                      </a:pPr>
                      <a:r>
                        <a:rPr lang="en-GB" sz="1600" b="1" i="0" u="none" kern="1200" baseline="0" dirty="0">
                          <a:effectLst/>
                        </a:rPr>
                        <a:t>Required material</a:t>
                      </a:r>
                      <a:endParaRPr lang="en-GB" sz="1600" noProof="0" dirty="0">
                        <a:effectLst/>
                      </a:endParaRPr>
                    </a:p>
                  </a:txBody>
                  <a:tcPr marL="72000" marR="0" marT="0" marB="0" anchor="ctr"/>
                </a:tc>
                <a:extLst>
                  <a:ext uri="{0D108BD9-81ED-4DB2-BD59-A6C34878D82A}">
                    <a16:rowId xmlns:a16="http://schemas.microsoft.com/office/drawing/2014/main" val="4223331645"/>
                  </a:ext>
                </a:extLst>
              </a:tr>
              <a:tr h="931056">
                <a:tc>
                  <a:txBody>
                    <a:bodyPr/>
                    <a:lstStyle/>
                    <a:p>
                      <a:pPr marL="0" algn="l" rtl="0" eaLnBrk="1" latinLnBrk="0" hangingPunct="1">
                        <a:spcBef>
                          <a:spcPts val="0"/>
                        </a:spcBef>
                        <a:spcAft>
                          <a:spcPts val="0"/>
                        </a:spcAft>
                      </a:pPr>
                      <a:r>
                        <a:rPr lang="en-GB" sz="1400" b="0" i="0" u="none" kern="1200" baseline="0" dirty="0">
                          <a:effectLst/>
                        </a:rPr>
                        <a:t>Before sending out invitations</a:t>
                      </a:r>
                    </a:p>
                  </a:txBody>
                  <a:tcPr marL="72000" marR="0" marT="0" marB="0"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kern="1200" baseline="0" dirty="0">
                          <a:effectLst/>
                        </a:rPr>
                        <a:t>Go through workshop slides and, if necessary, change the format/exercises to suit your needs</a:t>
                      </a:r>
                    </a:p>
                    <a:p>
                      <a:pPr marL="285750" lvl="0" indent="-285750" algn="l" rtl="0">
                        <a:spcBef>
                          <a:spcPts val="0"/>
                        </a:spcBef>
                        <a:spcAft>
                          <a:spcPts val="0"/>
                        </a:spcAft>
                        <a:buFont typeface="Arial" panose="020B0604020202020204" pitchFamily="34" charset="0"/>
                        <a:buChar char="•"/>
                      </a:pPr>
                      <a:r>
                        <a:rPr lang="en-GB" sz="1400" b="0" i="0" u="none" kern="1200" baseline="0" dirty="0">
                          <a:effectLst/>
                        </a:rPr>
                        <a:t>Plan required time for the workshop depending on the extent of the changes</a:t>
                      </a:r>
                      <a:endParaRPr lang="en-GB" sz="1400" noProof="0" dirty="0"/>
                    </a:p>
                  </a:txBody>
                  <a:tcPr marL="72000" marR="0" marT="0" marB="0"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u="none" strike="noStrike" kern="1200" baseline="0" dirty="0">
                          <a:effectLst/>
                          <a:latin typeface="+mn-lt"/>
                          <a:ea typeface="+mn-lt"/>
                          <a:cs typeface="+mn-lt"/>
                        </a:rPr>
                        <a:t>Workshop slides</a:t>
                      </a:r>
                      <a:endParaRPr lang="en-GB" sz="1400" noProof="0" dirty="0"/>
                    </a:p>
                    <a:p>
                      <a:pPr marL="285750" indent="-285750" algn="l" rtl="0" eaLnBrk="1" latinLnBrk="0" hangingPunct="1">
                        <a:spcBef>
                          <a:spcPts val="0"/>
                        </a:spcBef>
                        <a:spcAft>
                          <a:spcPts val="0"/>
                        </a:spcAft>
                        <a:buFont typeface="Arial" panose="020B0604020202020204" pitchFamily="34" charset="0"/>
                        <a:buChar char="•"/>
                      </a:pPr>
                      <a:r>
                        <a:rPr lang="en-GB" sz="1400" b="0" i="0" u="none" kern="1200" baseline="0" dirty="0">
                          <a:effectLst/>
                        </a:rPr>
                        <a:t>Tailored background information, e.g., previous agreements, team-specific guidelines, etc.</a:t>
                      </a:r>
                    </a:p>
                  </a:txBody>
                  <a:tcPr marL="72000" marR="0" marT="0" marB="0" anchor="ctr"/>
                </a:tc>
                <a:extLst>
                  <a:ext uri="{0D108BD9-81ED-4DB2-BD59-A6C34878D82A}">
                    <a16:rowId xmlns:a16="http://schemas.microsoft.com/office/drawing/2014/main" val="376272414"/>
                  </a:ext>
                </a:extLst>
              </a:tr>
              <a:tr h="931056">
                <a:tc>
                  <a:txBody>
                    <a:bodyPr/>
                    <a:lstStyle/>
                    <a:p>
                      <a:pPr marL="0" algn="l" rtl="0" eaLnBrk="1" latinLnBrk="0" hangingPunct="1">
                        <a:spcBef>
                          <a:spcPts val="0"/>
                        </a:spcBef>
                        <a:spcAft>
                          <a:spcPts val="0"/>
                        </a:spcAft>
                      </a:pPr>
                      <a:r>
                        <a:rPr lang="en-GB" sz="1400" b="0" i="0" u="none" kern="1200" baseline="0" dirty="0">
                          <a:effectLst/>
                        </a:rPr>
                        <a:t>2-4 weeks before the desired workshop date</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en-GB" sz="1400" b="0" i="0" u="none" kern="1200" baseline="0" dirty="0">
                          <a:effectLst/>
                        </a:rPr>
                        <a:t>Reserve meeting room </a:t>
                      </a:r>
                    </a:p>
                    <a:p>
                      <a:pPr marL="285750" lvl="0" indent="-285750" algn="l" rtl="0">
                        <a:spcBef>
                          <a:spcPts val="0"/>
                        </a:spcBef>
                        <a:spcAft>
                          <a:spcPts val="0"/>
                        </a:spcAft>
                        <a:buFont typeface="Arial" panose="020B0604020202020204" pitchFamily="34" charset="0"/>
                        <a:buChar char="•"/>
                      </a:pPr>
                      <a:r>
                        <a:rPr lang="en-GB" sz="1400" b="0" i="0" u="none" kern="1200" baseline="0" dirty="0">
                          <a:effectLst/>
                        </a:rPr>
                        <a:t>Send invitation to team</a:t>
                      </a:r>
                    </a:p>
                    <a:p>
                      <a:pPr marL="285750" lvl="0" indent="-285750" algn="l" rtl="0">
                        <a:spcBef>
                          <a:spcPts val="0"/>
                        </a:spcBef>
                        <a:spcAft>
                          <a:spcPts val="0"/>
                        </a:spcAft>
                        <a:buFont typeface="Arial" panose="020B0604020202020204" pitchFamily="34" charset="0"/>
                        <a:buChar char="•"/>
                      </a:pPr>
                      <a:r>
                        <a:rPr lang="en-GB" sz="1400" b="0" i="0" u="none" kern="1200" baseline="0" dirty="0">
                          <a:effectLst/>
                        </a:rPr>
                        <a:t>Secure the required equipment (e.g., pin boards, flip charts)</a:t>
                      </a:r>
                      <a:endParaRPr lang="en-GB" sz="1400" noProof="0" dirty="0"/>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en-GB" sz="1400" b="0" i="0" u="none" kern="1200" baseline="0" dirty="0">
                          <a:effectLst/>
                        </a:rPr>
                        <a:t>Outlook</a:t>
                      </a:r>
                    </a:p>
                  </a:txBody>
                  <a:tcPr marL="72000" marR="0" marT="0" marB="0" anchor="ctr"/>
                </a:tc>
                <a:extLst>
                  <a:ext uri="{0D108BD9-81ED-4DB2-BD59-A6C34878D82A}">
                    <a16:rowId xmlns:a16="http://schemas.microsoft.com/office/drawing/2014/main" val="4208406674"/>
                  </a:ext>
                </a:extLst>
              </a:tr>
              <a:tr h="698292">
                <a:tc>
                  <a:txBody>
                    <a:bodyPr/>
                    <a:lstStyle/>
                    <a:p>
                      <a:pPr marL="0" algn="l" rtl="0" eaLnBrk="1" latinLnBrk="0" hangingPunct="1">
                        <a:spcBef>
                          <a:spcPts val="0"/>
                        </a:spcBef>
                        <a:spcAft>
                          <a:spcPts val="0"/>
                        </a:spcAft>
                      </a:pPr>
                      <a:r>
                        <a:rPr lang="en-GB" sz="1400" b="0" i="0" u="none" kern="1200" baseline="0" dirty="0">
                          <a:effectLst/>
                        </a:rPr>
                        <a:t>1 week to a few days before the workshop</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en-GB" sz="1400" b="0" i="0" u="none" kern="1200" baseline="0" dirty="0">
                          <a:effectLst/>
                        </a:rPr>
                        <a:t>Make final detailed changes if needed</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en-GB" sz="1400" b="0" i="0" u="none" strike="noStrike" kern="1200" baseline="0" dirty="0">
                          <a:effectLst/>
                          <a:latin typeface="Arial"/>
                          <a:ea typeface="Arial"/>
                          <a:cs typeface="Arial"/>
                        </a:rPr>
                        <a:t>Workshop slides</a:t>
                      </a:r>
                      <a:endParaRPr lang="en-GB" sz="1400" noProof="0" dirty="0"/>
                    </a:p>
                  </a:txBody>
                  <a:tcPr marL="72000" marR="0" marT="0" marB="0" anchor="ctr"/>
                </a:tc>
                <a:extLst>
                  <a:ext uri="{0D108BD9-81ED-4DB2-BD59-A6C34878D82A}">
                    <a16:rowId xmlns:a16="http://schemas.microsoft.com/office/drawing/2014/main" val="2837530008"/>
                  </a:ext>
                </a:extLst>
              </a:tr>
              <a:tr h="1396584">
                <a:tc>
                  <a:txBody>
                    <a:bodyPr/>
                    <a:lstStyle/>
                    <a:p>
                      <a:pPr marL="0" algn="l" rtl="0" eaLnBrk="1" latinLnBrk="0" hangingPunct="1">
                        <a:spcBef>
                          <a:spcPts val="0"/>
                        </a:spcBef>
                        <a:spcAft>
                          <a:spcPts val="0"/>
                        </a:spcAft>
                      </a:pPr>
                      <a:r>
                        <a:rPr lang="en-GB" sz="1400" b="0" i="0" u="none" kern="1200" baseline="0" dirty="0">
                          <a:effectLst/>
                        </a:rPr>
                        <a:t>Day of the workshop</a:t>
                      </a:r>
                      <a:endParaRPr lang="en-GB" sz="1400" noProof="0" dirty="0">
                        <a:effectLst/>
                      </a:endParaRPr>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en-GB" sz="1400" b="0" i="0" u="none" kern="1200" baseline="0" dirty="0">
                          <a:effectLst/>
                        </a:rPr>
                        <a:t>Prepare meeting room</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en-GB" sz="1400" b="0" i="0" u="none" baseline="0" dirty="0">
                          <a:effectLst/>
                        </a:rPr>
                        <a:t>Workshop slides</a:t>
                      </a:r>
                    </a:p>
                    <a:p>
                      <a:pPr marL="285750" lvl="0" indent="-285750" algn="l" rtl="0">
                        <a:spcBef>
                          <a:spcPts val="0"/>
                        </a:spcBef>
                        <a:spcAft>
                          <a:spcPts val="0"/>
                        </a:spcAft>
                        <a:buFont typeface="Arial" panose="020B0604020202020204" pitchFamily="34" charset="0"/>
                        <a:buChar char="•"/>
                      </a:pPr>
                      <a:r>
                        <a:rPr lang="en-GB" sz="1400" b="0" i="0" u="none" baseline="0" dirty="0">
                          <a:effectLst/>
                        </a:rPr>
                        <a:t>Coloured dot stickers </a:t>
                      </a:r>
                    </a:p>
                    <a:p>
                      <a:pPr marL="285750" lvl="0" indent="-285750" algn="l" rtl="0">
                        <a:spcBef>
                          <a:spcPts val="0"/>
                        </a:spcBef>
                        <a:spcAft>
                          <a:spcPts val="0"/>
                        </a:spcAft>
                        <a:buFont typeface="Arial" panose="020B0604020202020204" pitchFamily="34" charset="0"/>
                        <a:buChar char="•"/>
                      </a:pPr>
                      <a:r>
                        <a:rPr lang="en-GB" sz="1400" b="0" i="0" u="none" baseline="0" dirty="0">
                          <a:effectLst/>
                        </a:rPr>
                        <a:t>Sticky notes or index cards</a:t>
                      </a:r>
                    </a:p>
                    <a:p>
                      <a:pPr marL="285750" lvl="0" indent="-285750" algn="l" rtl="0">
                        <a:spcBef>
                          <a:spcPts val="0"/>
                        </a:spcBef>
                        <a:spcAft>
                          <a:spcPts val="0"/>
                        </a:spcAft>
                        <a:buFont typeface="Arial" panose="020B0604020202020204" pitchFamily="34" charset="0"/>
                        <a:buChar char="•"/>
                      </a:pPr>
                      <a:r>
                        <a:rPr lang="en-GB" sz="1400" b="0" i="0" u="none" baseline="0" dirty="0">
                          <a:effectLst/>
                        </a:rPr>
                        <a:t>Flip charts and/or pin boards</a:t>
                      </a:r>
                    </a:p>
                    <a:p>
                      <a:pPr marL="285750" lvl="0" indent="-285750" algn="l" rtl="0">
                        <a:spcBef>
                          <a:spcPts val="0"/>
                        </a:spcBef>
                        <a:spcAft>
                          <a:spcPts val="0"/>
                        </a:spcAft>
                        <a:buFont typeface="Arial" panose="020B0604020202020204" pitchFamily="34" charset="0"/>
                        <a:buChar char="•"/>
                      </a:pPr>
                      <a:r>
                        <a:rPr lang="en-GB" sz="1400" b="0" i="0" u="none" baseline="0" dirty="0">
                          <a:effectLst/>
                        </a:rPr>
                        <a:t>Markers</a:t>
                      </a:r>
                    </a:p>
                    <a:p>
                      <a:pPr marL="285750" lvl="0" indent="-285750" algn="l" rtl="0">
                        <a:spcBef>
                          <a:spcPts val="0"/>
                        </a:spcBef>
                        <a:spcAft>
                          <a:spcPts val="0"/>
                        </a:spcAft>
                        <a:buFont typeface="Arial" panose="020B0604020202020204" pitchFamily="34" charset="0"/>
                        <a:buChar char="•"/>
                      </a:pPr>
                      <a:r>
                        <a:rPr lang="en-GB" sz="1400" b="0" i="0" u="none" baseline="0" dirty="0">
                          <a:effectLst/>
                        </a:rPr>
                        <a:t>Drinks and snacks if needed</a:t>
                      </a:r>
                    </a:p>
                    <a:p>
                      <a:pPr marL="285750" lvl="0" indent="-285750" algn="l" rtl="0">
                        <a:spcBef>
                          <a:spcPts val="0"/>
                        </a:spcBef>
                        <a:spcAft>
                          <a:spcPts val="0"/>
                        </a:spcAft>
                        <a:buFont typeface="Arial" panose="020B0604020202020204" pitchFamily="34" charset="0"/>
                        <a:buChar char="•"/>
                      </a:pPr>
                      <a:r>
                        <a:rPr lang="en-GB" sz="1400" b="0" i="0" u="none" baseline="0" dirty="0">
                          <a:effectLst/>
                        </a:rPr>
                        <a:t>Other material as needed </a:t>
                      </a:r>
                    </a:p>
                  </a:txBody>
                  <a:tcPr marL="72000" marR="0" marT="0" marB="0" anchor="ctr"/>
                </a:tc>
                <a:extLst>
                  <a:ext uri="{0D108BD9-81ED-4DB2-BD59-A6C34878D82A}">
                    <a16:rowId xmlns:a16="http://schemas.microsoft.com/office/drawing/2014/main" val="503110164"/>
                  </a:ext>
                </a:extLst>
              </a:tr>
              <a:tr h="456994">
                <a:tc>
                  <a:txBody>
                    <a:bodyPr/>
                    <a:lstStyle/>
                    <a:p>
                      <a:pPr marL="0" algn="l" rtl="0" eaLnBrk="1" latinLnBrk="0" hangingPunct="1">
                        <a:spcBef>
                          <a:spcPts val="0"/>
                        </a:spcBef>
                        <a:spcAft>
                          <a:spcPts val="0"/>
                        </a:spcAft>
                      </a:pPr>
                      <a:r>
                        <a:rPr lang="en-GB" sz="1400" b="0" i="0" u="none" baseline="0" dirty="0">
                          <a:effectLst/>
                        </a:rPr>
                        <a:t>Post-workshop</a:t>
                      </a:r>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en-GB" sz="1400" b="0" i="0" u="none" kern="1200" baseline="0" dirty="0">
                          <a:effectLst/>
                        </a:rPr>
                        <a:t>Send photo minutes of the results from the meeting</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en-GB" sz="1400" b="0" i="0" u="none" baseline="0" dirty="0">
                          <a:effectLst/>
                        </a:rPr>
                        <a:t>Photos of flip charts, pin boards, etc. &amp; other points that were agreed on</a:t>
                      </a:r>
                    </a:p>
                  </a:txBody>
                  <a:tcPr marL="72000" marR="0" marT="0" marB="0" anchor="ctr"/>
                </a:tc>
                <a:extLst>
                  <a:ext uri="{0D108BD9-81ED-4DB2-BD59-A6C34878D82A}">
                    <a16:rowId xmlns:a16="http://schemas.microsoft.com/office/drawing/2014/main" val="747358982"/>
                  </a:ext>
                </a:extLst>
              </a:tr>
            </a:tbl>
          </a:graphicData>
        </a:graphic>
      </p:graphicFrame>
      <p:sp>
        <p:nvSpPr>
          <p:cNvPr id="3" name="TextBox 2">
            <a:extLst>
              <a:ext uri="{FF2B5EF4-FFF2-40B4-BE49-F238E27FC236}">
                <a16:creationId xmlns:a16="http://schemas.microsoft.com/office/drawing/2014/main" id="{7A042853-0D90-4A81-96A2-3E339984207D}"/>
              </a:ext>
            </a:extLst>
          </p:cNvPr>
          <p:cNvSpPr txBox="1"/>
          <p:nvPr/>
        </p:nvSpPr>
        <p:spPr>
          <a:xfrm>
            <a:off x="631369" y="914400"/>
            <a:ext cx="82731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b="0" i="0" u="none" baseline="0" dirty="0"/>
              <a:t>Recommendation: all team members should be physically present </a:t>
            </a:r>
            <a:endParaRPr lang="en-GB" dirty="0"/>
          </a:p>
        </p:txBody>
      </p:sp>
      <p:sp>
        <p:nvSpPr>
          <p:cNvPr id="9" name="Rechteck 8">
            <a:extLst>
              <a:ext uri="{FF2B5EF4-FFF2-40B4-BE49-F238E27FC236}">
                <a16:creationId xmlns:a16="http://schemas.microsoft.com/office/drawing/2014/main" id="{89A99E02-2595-4654-A914-9755D7AC0719}"/>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2700500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BFE735-7DEC-F7BC-933D-DAC2EC342B0C}"/>
              </a:ext>
            </a:extLst>
          </p:cNvPr>
          <p:cNvGraphicFramePr>
            <a:graphicFrameLocks noChangeAspect="1"/>
          </p:cNvGraphicFramePr>
          <p:nvPr>
            <p:custDataLst>
              <p:tags r:id="rId1"/>
            </p:custDataLst>
            <p:extLst>
              <p:ext uri="{D42A27DB-BD31-4B8C-83A1-F6EECF244321}">
                <p14:modId xmlns:p14="http://schemas.microsoft.com/office/powerpoint/2010/main" val="2718911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6BFE735-7DEC-F7BC-933D-DAC2EC342B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021347884"/>
              </p:ext>
            </p:extLst>
          </p:nvPr>
        </p:nvGraphicFramePr>
        <p:xfrm>
          <a:off x="731837" y="1478191"/>
          <a:ext cx="10728328" cy="4515187"/>
        </p:xfrm>
        <a:graphic>
          <a:graphicData uri="http://schemas.openxmlformats.org/drawingml/2006/table">
            <a:tbl>
              <a:tblPr firstRow="1" bandRow="1">
                <a:tableStyleId>{5C22544A-7EE6-4342-B048-85BDC9FD1C3A}</a:tableStyleId>
              </a:tblPr>
              <a:tblGrid>
                <a:gridCol w="719276">
                  <a:extLst>
                    <a:ext uri="{9D8B030D-6E8A-4147-A177-3AD203B41FA5}">
                      <a16:colId xmlns:a16="http://schemas.microsoft.com/office/drawing/2014/main" val="1714132888"/>
                    </a:ext>
                  </a:extLst>
                </a:gridCol>
                <a:gridCol w="1300646">
                  <a:extLst>
                    <a:ext uri="{9D8B030D-6E8A-4147-A177-3AD203B41FA5}">
                      <a16:colId xmlns:a16="http://schemas.microsoft.com/office/drawing/2014/main" val="3593074681"/>
                    </a:ext>
                  </a:extLst>
                </a:gridCol>
                <a:gridCol w="5074418">
                  <a:extLst>
                    <a:ext uri="{9D8B030D-6E8A-4147-A177-3AD203B41FA5}">
                      <a16:colId xmlns:a16="http://schemas.microsoft.com/office/drawing/2014/main" val="1802429230"/>
                    </a:ext>
                  </a:extLst>
                </a:gridCol>
                <a:gridCol w="1816994">
                  <a:extLst>
                    <a:ext uri="{9D8B030D-6E8A-4147-A177-3AD203B41FA5}">
                      <a16:colId xmlns:a16="http://schemas.microsoft.com/office/drawing/2014/main" val="3871929852"/>
                    </a:ext>
                  </a:extLst>
                </a:gridCol>
                <a:gridCol w="1816994">
                  <a:extLst>
                    <a:ext uri="{9D8B030D-6E8A-4147-A177-3AD203B41FA5}">
                      <a16:colId xmlns:a16="http://schemas.microsoft.com/office/drawing/2014/main" val="2061069242"/>
                    </a:ext>
                  </a:extLst>
                </a:gridCol>
              </a:tblGrid>
              <a:tr h="343367">
                <a:tc>
                  <a:txBody>
                    <a:bodyPr/>
                    <a:lstStyle/>
                    <a:p>
                      <a:pPr marL="0" algn="l" rtl="0" eaLnBrk="1" latinLnBrk="0" hangingPunct="1">
                        <a:spcBef>
                          <a:spcPts val="0"/>
                        </a:spcBef>
                        <a:spcAft>
                          <a:spcPts val="0"/>
                        </a:spcAft>
                      </a:pPr>
                      <a:r>
                        <a:rPr lang="en-GB" sz="1100" b="1" i="0" u="none" kern="1200" baseline="0" dirty="0">
                          <a:effectLst/>
                        </a:rPr>
                        <a:t>Duration</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1" i="0" u="none" baseline="0" dirty="0">
                          <a:effectLst/>
                        </a:rPr>
                        <a:t>Agenda point</a:t>
                      </a:r>
                    </a:p>
                  </a:txBody>
                  <a:tcPr marL="72000" marR="0" marT="0" marB="0" anchor="ctr"/>
                </a:tc>
                <a:tc>
                  <a:txBody>
                    <a:bodyPr/>
                    <a:lstStyle/>
                    <a:p>
                      <a:pPr marL="0" algn="l" rtl="0" eaLnBrk="1" latinLnBrk="0" hangingPunct="1">
                        <a:spcBef>
                          <a:spcPts val="0"/>
                        </a:spcBef>
                        <a:spcAft>
                          <a:spcPts val="0"/>
                        </a:spcAft>
                      </a:pPr>
                      <a:r>
                        <a:rPr lang="en-GB" sz="1100" b="1" i="0" u="none" kern="1200" baseline="0" dirty="0">
                          <a:effectLst/>
                        </a:rPr>
                        <a:t>Description</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1" i="0" u="none" baseline="0" dirty="0">
                          <a:effectLst/>
                        </a:rPr>
                        <a:t>Purpose</a:t>
                      </a:r>
                    </a:p>
                  </a:txBody>
                  <a:tcPr marL="72000" marR="0" marT="0" marB="0" anchor="ctr"/>
                </a:tc>
                <a:tc>
                  <a:txBody>
                    <a:bodyPr/>
                    <a:lstStyle/>
                    <a:p>
                      <a:pPr marL="0" algn="l" rtl="0" eaLnBrk="1" latinLnBrk="0" hangingPunct="1">
                        <a:spcBef>
                          <a:spcPts val="0"/>
                        </a:spcBef>
                        <a:spcAft>
                          <a:spcPts val="0"/>
                        </a:spcAft>
                      </a:pPr>
                      <a:r>
                        <a:rPr lang="en-GB" sz="1100" b="1" i="0" u="none" kern="1200" baseline="0" dirty="0">
                          <a:effectLst/>
                        </a:rPr>
                        <a:t>Required material</a:t>
                      </a:r>
                      <a:endParaRPr lang="en-GB" sz="1100" noProof="0" dirty="0">
                        <a:effectLst/>
                      </a:endParaRPr>
                    </a:p>
                  </a:txBody>
                  <a:tcPr marL="72000" marR="0" marT="0" marB="0" anchor="ctr"/>
                </a:tc>
                <a:extLst>
                  <a:ext uri="{0D108BD9-81ED-4DB2-BD59-A6C34878D82A}">
                    <a16:rowId xmlns:a16="http://schemas.microsoft.com/office/drawing/2014/main" val="4223331645"/>
                  </a:ext>
                </a:extLst>
              </a:tr>
              <a:tr h="728017">
                <a:tc>
                  <a:txBody>
                    <a:bodyPr/>
                    <a:lstStyle/>
                    <a:p>
                      <a:pPr marL="0" algn="l" rtl="0" eaLnBrk="1" latinLnBrk="0" hangingPunct="1">
                        <a:spcBef>
                          <a:spcPts val="0"/>
                        </a:spcBef>
                        <a:spcAft>
                          <a:spcPts val="0"/>
                        </a:spcAft>
                      </a:pPr>
                      <a:r>
                        <a:rPr lang="en-GB" sz="1100" b="0" i="0" u="none" kern="1200" baseline="0" noProof="0" dirty="0">
                          <a:effectLst/>
                        </a:rPr>
                        <a:t>10 minutes</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endParaRPr lang="en-GB" sz="1100" b="0" i="0" u="none" kern="1200" baseline="0" noProof="0" dirty="0">
                        <a:effectLst/>
                      </a:endParaRPr>
                    </a:p>
                    <a:p>
                      <a:pPr marL="0" algn="l" rtl="0" eaLnBrk="1" latinLnBrk="0" hangingPunct="1">
                        <a:spcBef>
                          <a:spcPts val="0"/>
                        </a:spcBef>
                        <a:spcAft>
                          <a:spcPts val="0"/>
                        </a:spcAft>
                      </a:pPr>
                      <a:r>
                        <a:rPr lang="en-GB" sz="1100" b="0" i="0" u="none" kern="1200" baseline="0" noProof="0" dirty="0">
                          <a:effectLst/>
                        </a:rPr>
                        <a:t>Welcome participants, explain workshop schedule and goals </a:t>
                      </a:r>
                    </a:p>
                    <a:p>
                      <a:pPr marL="0" algn="l" rtl="0" eaLnBrk="1" latinLnBrk="0" hangingPunct="1">
                        <a:spcBef>
                          <a:spcPts val="0"/>
                        </a:spcBef>
                        <a:spcAft>
                          <a:spcPts val="0"/>
                        </a:spcAft>
                      </a:pP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0" i="0" u="none" kern="1200" baseline="0" noProof="0" dirty="0">
                          <a:effectLst/>
                        </a:rPr>
                        <a:t>Use the presentation slides and the background information provided to explain why it’s important to you to discuss this topic with your team.</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0" i="0" u="none" baseline="0" noProof="0" dirty="0">
                          <a:effectLst/>
                        </a:rPr>
                        <a:t>Set the scope, create an atmosphere conducive to open discussion</a:t>
                      </a:r>
                    </a:p>
                  </a:txBody>
                  <a:tcPr marL="72000" marR="0" marT="0" marB="0" anchor="ctr"/>
                </a:tc>
                <a:tc>
                  <a:txBody>
                    <a:bodyPr/>
                    <a:lstStyle/>
                    <a:p>
                      <a:pPr marL="0" algn="l" rtl="0" eaLnBrk="1" latinLnBrk="0" hangingPunct="1">
                        <a:spcBef>
                          <a:spcPts val="0"/>
                        </a:spcBef>
                        <a:spcAft>
                          <a:spcPts val="0"/>
                        </a:spcAft>
                      </a:pPr>
                      <a:r>
                        <a:rPr lang="en-GB" sz="1100" b="0" i="0" u="none" kern="1200" baseline="0" noProof="0" dirty="0">
                          <a:effectLst/>
                        </a:rPr>
                        <a:t>Slides: </a:t>
                      </a:r>
                      <a:r>
                        <a:rPr lang="en-GB" sz="1100" b="0" i="0" u="none" baseline="0" noProof="0" dirty="0"/>
                        <a:t>Basic principles on working from home; Developing a team consensus; Workshop run-down</a:t>
                      </a:r>
                      <a:endParaRPr lang="en-GB" sz="1100" noProof="0" dirty="0">
                        <a:effectLst/>
                      </a:endParaRPr>
                    </a:p>
                  </a:txBody>
                  <a:tcPr marL="72000" marR="0" marT="0" marB="0" anchor="ctr"/>
                </a:tc>
                <a:extLst>
                  <a:ext uri="{0D108BD9-81ED-4DB2-BD59-A6C34878D82A}">
                    <a16:rowId xmlns:a16="http://schemas.microsoft.com/office/drawing/2014/main" val="4208406674"/>
                  </a:ext>
                </a:extLst>
              </a:tr>
              <a:tr h="585847">
                <a:tc>
                  <a:txBody>
                    <a:bodyPr/>
                    <a:lstStyle/>
                    <a:p>
                      <a:pPr marL="0" algn="l" rtl="0" eaLnBrk="1" latinLnBrk="0" hangingPunct="1">
                        <a:spcBef>
                          <a:spcPts val="0"/>
                        </a:spcBef>
                        <a:spcAft>
                          <a:spcPts val="0"/>
                        </a:spcAft>
                      </a:pPr>
                      <a:r>
                        <a:rPr lang="en-GB" sz="1100" b="0" i="0" u="none" kern="1200" baseline="0" noProof="0" dirty="0">
                          <a:effectLst/>
                        </a:rPr>
                        <a:t>20 minutes</a:t>
                      </a:r>
                      <a:endParaRPr lang="en-GB" sz="1100" noProof="0" dirty="0">
                        <a:effectLst/>
                      </a:endParaRPr>
                    </a:p>
                  </a:txBody>
                  <a:tcPr marL="72000" marR="0" marT="0" marB="0" anchor="ctr"/>
                </a:tc>
                <a:tc>
                  <a:txBody>
                    <a:bodyPr/>
                    <a:lstStyle/>
                    <a:p>
                      <a:pPr marL="0" lvl="0" algn="l" rtl="0">
                        <a:spcBef>
                          <a:spcPts val="0"/>
                        </a:spcBef>
                        <a:spcAft>
                          <a:spcPts val="0"/>
                        </a:spcAft>
                        <a:buNone/>
                      </a:pPr>
                      <a:r>
                        <a:rPr lang="en-GB" sz="1100" b="0" i="0" u="none" kern="1200" baseline="0" noProof="0" dirty="0">
                          <a:effectLst/>
                        </a:rPr>
                        <a:t>Check-in</a:t>
                      </a:r>
                    </a:p>
                  </a:txBody>
                  <a:tcPr marL="72000" marR="0" marT="0" marB="0" anchor="ctr"/>
                </a:tc>
                <a:tc>
                  <a:txBody>
                    <a:bodyPr/>
                    <a:lstStyle/>
                    <a:p>
                      <a:pPr marL="0" algn="l" rtl="0" eaLnBrk="1" latinLnBrk="0" hangingPunct="1">
                        <a:spcBef>
                          <a:spcPts val="0"/>
                        </a:spcBef>
                        <a:spcAft>
                          <a:spcPts val="0"/>
                        </a:spcAft>
                      </a:pPr>
                      <a:endParaRPr lang="en-GB" sz="1100" b="0" i="0" u="none" kern="1200" baseline="0" noProof="0" dirty="0">
                        <a:effectLst/>
                      </a:endParaRPr>
                    </a:p>
                    <a:p>
                      <a:pPr marL="0" algn="l" rtl="0" eaLnBrk="1" latinLnBrk="0" hangingPunct="1">
                        <a:spcBef>
                          <a:spcPts val="0"/>
                        </a:spcBef>
                        <a:spcAft>
                          <a:spcPts val="0"/>
                        </a:spcAft>
                      </a:pPr>
                      <a:r>
                        <a:rPr lang="en-GB" sz="1100" b="0" i="0" u="none" kern="1200" baseline="0" noProof="0" dirty="0">
                          <a:effectLst/>
                        </a:rPr>
                        <a:t>A few minutes per participant.</a:t>
                      </a:r>
                    </a:p>
                    <a:p>
                      <a:pPr marL="0" lvl="0" algn="l" rtl="0">
                        <a:spcBef>
                          <a:spcPts val="0"/>
                        </a:spcBef>
                        <a:spcAft>
                          <a:spcPts val="0"/>
                        </a:spcAft>
                        <a:buNone/>
                      </a:pPr>
                      <a:r>
                        <a:rPr lang="en-GB" sz="1100" b="0" i="0" u="none" kern="1200" baseline="0" noProof="0" dirty="0">
                          <a:effectLst/>
                        </a:rPr>
                        <a:t>Here the goal is a general warm-up round to connect with each other without getting into any specific topics yet.</a:t>
                      </a:r>
                    </a:p>
                    <a:p>
                      <a:pPr marL="0" lvl="0" algn="l" rtl="0">
                        <a:spcBef>
                          <a:spcPts val="0"/>
                        </a:spcBef>
                        <a:spcAft>
                          <a:spcPts val="0"/>
                        </a:spcAft>
                        <a:buNone/>
                      </a:pPr>
                      <a:endParaRPr lang="en-GB" sz="1100" b="0" i="0" u="none" kern="1200" baseline="0" noProof="0" dirty="0">
                        <a:effectLst/>
                      </a:endParaRPr>
                    </a:p>
                  </a:txBody>
                  <a:tcPr marL="72000" marR="0" marT="0" marB="0" anchor="ctr"/>
                </a:tc>
                <a:tc>
                  <a:txBody>
                    <a:bodyPr/>
                    <a:lstStyle/>
                    <a:p>
                      <a:pPr marL="0" algn="l" rtl="0" eaLnBrk="1" latinLnBrk="0" hangingPunct="1">
                        <a:spcBef>
                          <a:spcPts val="0"/>
                        </a:spcBef>
                        <a:spcAft>
                          <a:spcPts val="0"/>
                        </a:spcAft>
                      </a:pPr>
                      <a:r>
                        <a:rPr lang="en-GB" sz="1100" b="0" i="0" u="none" baseline="0" noProof="0" dirty="0">
                          <a:effectLst/>
                        </a:rPr>
                        <a:t>Warm up</a:t>
                      </a:r>
                    </a:p>
                  </a:txBody>
                  <a:tcPr marL="72000" marR="0" marT="0" marB="0" anchor="ctr"/>
                </a:tc>
                <a:tc>
                  <a:txBody>
                    <a:bodyPr/>
                    <a:lstStyle/>
                    <a:p>
                      <a:pPr marL="0" algn="l" rtl="0" eaLnBrk="1" latinLnBrk="0" hangingPunct="1">
                        <a:spcBef>
                          <a:spcPts val="0"/>
                        </a:spcBef>
                        <a:spcAft>
                          <a:spcPts val="0"/>
                        </a:spcAft>
                      </a:pPr>
                      <a:r>
                        <a:rPr lang="en-GB" sz="1100" b="0" i="0" u="none" kern="1200" baseline="0" noProof="0" dirty="0">
                          <a:effectLst/>
                        </a:rPr>
                        <a:t>Slide: Check-in (example activity)</a:t>
                      </a:r>
                      <a:endParaRPr lang="en-GB" sz="1100" noProof="0" dirty="0">
                        <a:effectLst/>
                      </a:endParaRPr>
                    </a:p>
                  </a:txBody>
                  <a:tcPr marL="72000" marR="0" marT="0" marB="0" anchor="ctr"/>
                </a:tc>
                <a:extLst>
                  <a:ext uri="{0D108BD9-81ED-4DB2-BD59-A6C34878D82A}">
                    <a16:rowId xmlns:a16="http://schemas.microsoft.com/office/drawing/2014/main" val="2837530008"/>
                  </a:ext>
                </a:extLst>
              </a:tr>
              <a:tr h="819020">
                <a:tc>
                  <a:txBody>
                    <a:bodyPr/>
                    <a:lstStyle/>
                    <a:p>
                      <a:pPr marL="0" algn="l" rtl="0" eaLnBrk="1" latinLnBrk="0" hangingPunct="1">
                        <a:spcBef>
                          <a:spcPts val="0"/>
                        </a:spcBef>
                        <a:spcAft>
                          <a:spcPts val="0"/>
                        </a:spcAft>
                      </a:pPr>
                      <a:r>
                        <a:rPr lang="en-GB" sz="1100" b="0" i="0" u="none" kern="1200" baseline="0" noProof="0" dirty="0">
                          <a:effectLst/>
                        </a:rPr>
                        <a:t>30 minutes</a:t>
                      </a:r>
                      <a:endParaRPr lang="en-GB" sz="11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kern="1200" baseline="0" noProof="0" dirty="0">
                          <a:effectLst/>
                        </a:rPr>
                        <a:t>Collaboration (exercise)</a:t>
                      </a:r>
                    </a:p>
                  </a:txBody>
                  <a:tcPr marL="72000" marR="0" marT="0" marB="0" anchor="ctr"/>
                </a:tc>
                <a:tc>
                  <a:txBody>
                    <a:bodyPr/>
                    <a:lstStyle/>
                    <a:p>
                      <a:pPr marL="0" algn="l" rtl="0" eaLnBrk="1" latinLnBrk="0" hangingPunct="1">
                        <a:spcBef>
                          <a:spcPts val="0"/>
                        </a:spcBef>
                        <a:spcAft>
                          <a:spcPts val="0"/>
                        </a:spcAft>
                      </a:pPr>
                      <a:r>
                        <a:rPr lang="en-GB" sz="1100" b="0" i="0" u="none" kern="1200" baseline="0" noProof="0" dirty="0">
                          <a:effectLst/>
                        </a:rPr>
                        <a:t>Participants generate ideas and solutions for organising collaboration with a focus on in-person and remote work balance, transparency in working hours and locations, and communication schedules. These ideas are then clustered and discussed during a 15-minute open discussion. </a:t>
                      </a:r>
                      <a:endParaRPr lang="en-GB" sz="1100" b="0" noProof="0" dirty="0">
                        <a:solidFill>
                          <a:schemeClr val="tx1"/>
                        </a:solidFill>
                        <a:cs typeface="Arial"/>
                      </a:endParaRPr>
                    </a:p>
                  </a:txBody>
                  <a:tcPr marL="72000" marR="0" marT="0" marB="0" anchor="ctr"/>
                </a:tc>
                <a:tc>
                  <a:txBody>
                    <a:bodyPr/>
                    <a:lstStyle/>
                    <a:p>
                      <a:pPr marL="0" algn="l" rtl="0" eaLnBrk="1" latinLnBrk="0" hangingPunct="1">
                        <a:spcBef>
                          <a:spcPts val="0"/>
                        </a:spcBef>
                        <a:spcAft>
                          <a:spcPts val="0"/>
                        </a:spcAft>
                      </a:pPr>
                      <a:r>
                        <a:rPr lang="en-GB" sz="1100" b="0" i="0" u="none" baseline="0" noProof="0" dirty="0">
                          <a:effectLst/>
                        </a:rPr>
                        <a:t>Reflection, open discussion, transparency, generating new ideas and consensus finding</a:t>
                      </a:r>
                    </a:p>
                  </a:txBody>
                  <a:tcPr marL="72000" marR="0" marT="0" marB="0" anchor="ctr"/>
                </a:tc>
                <a:tc>
                  <a:txBody>
                    <a:bodyPr/>
                    <a:lstStyle/>
                    <a:p>
                      <a:pPr marL="0" algn="l" rtl="0" eaLnBrk="1" latinLnBrk="0" hangingPunct="1">
                        <a:spcBef>
                          <a:spcPts val="0"/>
                        </a:spcBef>
                        <a:spcAft>
                          <a:spcPts val="0"/>
                        </a:spcAft>
                      </a:pPr>
                      <a:endParaRPr lang="en-GB" sz="1100" b="0" i="0" u="none" baseline="0" noProof="0" dirty="0">
                        <a:effectLst/>
                      </a:endParaRPr>
                    </a:p>
                    <a:p>
                      <a:pPr marL="0" algn="l" rtl="0" eaLnBrk="1" latinLnBrk="0" hangingPunct="1">
                        <a:spcBef>
                          <a:spcPts val="0"/>
                        </a:spcBef>
                        <a:spcAft>
                          <a:spcPts val="0"/>
                        </a:spcAft>
                      </a:pPr>
                      <a:r>
                        <a:rPr lang="en-GB" sz="1100" b="0" i="0" u="none" baseline="0" noProof="0" dirty="0">
                          <a:effectLst/>
                        </a:rPr>
                        <a:t>Slides: </a:t>
                      </a:r>
                      <a:r>
                        <a:rPr lang="en-GB" sz="1100" noProof="0" dirty="0"/>
                        <a:t>Collaboration; </a:t>
                      </a:r>
                      <a:r>
                        <a:rPr lang="en-GB" sz="1100" b="0" i="0" u="none" kern="1200" baseline="0" noProof="0" dirty="0">
                          <a:effectLst/>
                        </a:rPr>
                        <a:t>Collaboration – questions and perspectives.</a:t>
                      </a:r>
                    </a:p>
                    <a:p>
                      <a:pPr marL="0" algn="l" rtl="0" eaLnBrk="1" latinLnBrk="0" hangingPunct="1">
                        <a:spcBef>
                          <a:spcPts val="0"/>
                        </a:spcBef>
                        <a:spcAft>
                          <a:spcPts val="0"/>
                        </a:spcAft>
                      </a:pPr>
                      <a:r>
                        <a:rPr lang="en-GB" sz="1100" b="0" i="0" u="none" kern="1200" baseline="0" noProof="0" dirty="0">
                          <a:effectLst/>
                        </a:rPr>
                        <a:t>Materials: Index cards or sticky notes, a board and some pens or markers.</a:t>
                      </a:r>
                      <a:r>
                        <a:rPr lang="en-GB" sz="1100" noProof="0" dirty="0"/>
                        <a:t> </a:t>
                      </a:r>
                    </a:p>
                    <a:p>
                      <a:pPr marL="0" algn="l" rtl="0" eaLnBrk="1" latinLnBrk="0" hangingPunct="1">
                        <a:spcBef>
                          <a:spcPts val="0"/>
                        </a:spcBef>
                        <a:spcAft>
                          <a:spcPts val="0"/>
                        </a:spcAft>
                      </a:pPr>
                      <a:endParaRPr lang="en-GB" sz="1100" b="0" i="0" u="none" baseline="0" noProof="0" dirty="0">
                        <a:effectLst/>
                      </a:endParaRPr>
                    </a:p>
                  </a:txBody>
                  <a:tcPr marL="72000" marR="0" marT="0" marB="0" anchor="ctr"/>
                </a:tc>
                <a:extLst>
                  <a:ext uri="{0D108BD9-81ED-4DB2-BD59-A6C34878D82A}">
                    <a16:rowId xmlns:a16="http://schemas.microsoft.com/office/drawing/2014/main" val="503110164"/>
                  </a:ext>
                </a:extLst>
              </a:tr>
              <a:tr h="819020">
                <a:tc>
                  <a:txBody>
                    <a:bodyPr/>
                    <a:lstStyle/>
                    <a:p>
                      <a:pPr marL="0" lvl="0" algn="l" rtl="0">
                        <a:spcBef>
                          <a:spcPts val="0"/>
                        </a:spcBef>
                        <a:spcAft>
                          <a:spcPts val="0"/>
                        </a:spcAft>
                        <a:buNone/>
                      </a:pPr>
                      <a:r>
                        <a:rPr lang="en-GB" sz="1100" b="0" i="0" u="none" kern="1200" baseline="0" dirty="0">
                          <a:effectLst/>
                        </a:rPr>
                        <a:t>10 minutes</a:t>
                      </a:r>
                    </a:p>
                  </a:txBody>
                  <a:tcPr marL="72000" marR="0" marT="0" marB="0" anchor="ctr"/>
                </a:tc>
                <a:tc gridSpan="3">
                  <a:txBody>
                    <a:bodyPr/>
                    <a:lstStyle/>
                    <a:p>
                      <a:pPr marL="0" lvl="0" algn="ctr" rtl="0">
                        <a:spcBef>
                          <a:spcPts val="0"/>
                        </a:spcBef>
                        <a:spcAft>
                          <a:spcPts val="0"/>
                        </a:spcAft>
                        <a:buNone/>
                      </a:pPr>
                      <a:r>
                        <a:rPr lang="en-GB" sz="1100" b="0" i="0" u="none" kern="1200" baseline="0" dirty="0">
                          <a:effectLst/>
                        </a:rPr>
                        <a:t>Break</a:t>
                      </a:r>
                    </a:p>
                  </a:txBody>
                  <a:tcPr marL="72000" marR="0" marT="0" marB="0" anchor="ctr"/>
                </a:tc>
                <a:tc hMerge="1">
                  <a:txBody>
                    <a:bodyPr/>
                    <a:lstStyle/>
                    <a:p>
                      <a:pPr marL="0" lvl="0" algn="l" rtl="0">
                        <a:spcBef>
                          <a:spcPts val="0"/>
                        </a:spcBef>
                        <a:spcAft>
                          <a:spcPts val="0"/>
                        </a:spcAft>
                        <a:buNone/>
                      </a:pPr>
                      <a:endParaRPr lang="en-gb" sz="1100" kern="1200" noProof="0">
                        <a:effectLst/>
                      </a:endParaRPr>
                    </a:p>
                  </a:txBody>
                  <a:tcPr marL="72000" marR="0" marT="0" marB="0" anchor="ctr"/>
                </a:tc>
                <a:tc hMerge="1">
                  <a:txBody>
                    <a:bodyPr/>
                    <a:lstStyle/>
                    <a:p>
                      <a:pPr marL="0" lvl="0" algn="l" rtl="0">
                        <a:spcBef>
                          <a:spcPts val="0"/>
                        </a:spcBef>
                        <a:spcAft>
                          <a:spcPts val="0"/>
                        </a:spcAft>
                        <a:buNone/>
                      </a:pPr>
                      <a:endParaRPr lang="en-gb" sz="1100" noProof="0">
                        <a:effectLst/>
                      </a:endParaRPr>
                    </a:p>
                  </a:txBody>
                  <a:tcPr marL="72000" marR="0" marT="0" marB="0" anchor="ctr"/>
                </a:tc>
                <a:tc>
                  <a:txBody>
                    <a:bodyPr/>
                    <a:lstStyle/>
                    <a:p>
                      <a:pPr marL="0" lvl="0" algn="l" rtl="0">
                        <a:spcBef>
                          <a:spcPts val="0"/>
                        </a:spcBef>
                        <a:spcAft>
                          <a:spcPts val="0"/>
                        </a:spcAft>
                        <a:buNone/>
                      </a:pPr>
                      <a:r>
                        <a:rPr lang="en-GB" sz="1100" b="0" i="0" u="none" baseline="0" dirty="0">
                          <a:effectLst/>
                        </a:rPr>
                        <a:t>Drinks/snacks</a:t>
                      </a:r>
                    </a:p>
                  </a:txBody>
                  <a:tcPr marL="72000" marR="0" marT="0" marB="0" anchor="ctr"/>
                </a:tc>
                <a:extLst>
                  <a:ext uri="{0D108BD9-81ED-4DB2-BD59-A6C34878D82A}">
                    <a16:rowId xmlns:a16="http://schemas.microsoft.com/office/drawing/2014/main" val="3941753554"/>
                  </a:ext>
                </a:extLst>
              </a:tr>
            </a:tbl>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Sample schedule (1/2)</a:t>
            </a:r>
            <a:br>
              <a:rPr lang="en-GB" dirty="0">
                <a:cs typeface="Arial"/>
              </a:rPr>
            </a:br>
            <a:r>
              <a:rPr lang="en-GB" sz="2000" b="0" i="0" u="none" baseline="0" dirty="0">
                <a:latin typeface="Arial"/>
                <a:ea typeface="Arial"/>
                <a:cs typeface="Arial"/>
              </a:rPr>
              <a:t>Please plan around 2.5 hours </a:t>
            </a:r>
            <a:endParaRPr lang="en-GB" dirty="0">
              <a:cs typeface="Arial"/>
            </a:endParaRPr>
          </a:p>
        </p:txBody>
      </p:sp>
      <p:sp>
        <p:nvSpPr>
          <p:cNvPr id="4" name="Datumsplatzhalter 3"/>
          <p:cNvSpPr>
            <a:spLocks noGrp="1"/>
          </p:cNvSpPr>
          <p:nvPr>
            <p:ph type="dt" sz="half" idx="10"/>
          </p:nvPr>
        </p:nvSpPr>
        <p:spPr/>
        <p:txBody>
          <a:bodyPr/>
          <a:lstStyle/>
          <a:p>
            <a:pPr algn="l"/>
            <a:fld id="{998F15FA-F49A-447D-BBEB-4F55B7925CD5}"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7</a:t>
            </a:fld>
            <a:endParaRPr lang="en-GB" noProof="0" dirty="0"/>
          </a:p>
        </p:txBody>
      </p:sp>
      <p:sp>
        <p:nvSpPr>
          <p:cNvPr id="11" name="Rechteck 10">
            <a:extLst>
              <a:ext uri="{FF2B5EF4-FFF2-40B4-BE49-F238E27FC236}">
                <a16:creationId xmlns:a16="http://schemas.microsoft.com/office/drawing/2014/main" id="{D546C90B-D125-48EE-A1FF-3334FE6CA27A}"/>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3512549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2A6001-9BB9-A627-E613-6E007AFFCCA1}"/>
              </a:ext>
            </a:extLst>
          </p:cNvPr>
          <p:cNvGraphicFramePr>
            <a:graphicFrameLocks noChangeAspect="1"/>
          </p:cNvGraphicFramePr>
          <p:nvPr>
            <p:custDataLst>
              <p:tags r:id="rId1"/>
            </p:custDataLst>
            <p:extLst>
              <p:ext uri="{D42A27DB-BD31-4B8C-83A1-F6EECF244321}">
                <p14:modId xmlns:p14="http://schemas.microsoft.com/office/powerpoint/2010/main" val="187111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72A6001-9BB9-A627-E613-6E007AFFC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4280651295"/>
              </p:ext>
            </p:extLst>
          </p:nvPr>
        </p:nvGraphicFramePr>
        <p:xfrm>
          <a:off x="731837" y="1260475"/>
          <a:ext cx="10728328" cy="4449705"/>
        </p:xfrm>
        <a:graphic>
          <a:graphicData uri="http://schemas.openxmlformats.org/drawingml/2006/table">
            <a:tbl>
              <a:tblPr firstRow="1" bandRow="1">
                <a:tableStyleId>{5C22544A-7EE6-4342-B048-85BDC9FD1C3A}</a:tableStyleId>
              </a:tblPr>
              <a:tblGrid>
                <a:gridCol w="679520">
                  <a:extLst>
                    <a:ext uri="{9D8B030D-6E8A-4147-A177-3AD203B41FA5}">
                      <a16:colId xmlns:a16="http://schemas.microsoft.com/office/drawing/2014/main" val="1714132888"/>
                    </a:ext>
                  </a:extLst>
                </a:gridCol>
                <a:gridCol w="1340402">
                  <a:extLst>
                    <a:ext uri="{9D8B030D-6E8A-4147-A177-3AD203B41FA5}">
                      <a16:colId xmlns:a16="http://schemas.microsoft.com/office/drawing/2014/main" val="3593074681"/>
                    </a:ext>
                  </a:extLst>
                </a:gridCol>
                <a:gridCol w="5074418">
                  <a:extLst>
                    <a:ext uri="{9D8B030D-6E8A-4147-A177-3AD203B41FA5}">
                      <a16:colId xmlns:a16="http://schemas.microsoft.com/office/drawing/2014/main" val="1802429230"/>
                    </a:ext>
                  </a:extLst>
                </a:gridCol>
                <a:gridCol w="1816994">
                  <a:extLst>
                    <a:ext uri="{9D8B030D-6E8A-4147-A177-3AD203B41FA5}">
                      <a16:colId xmlns:a16="http://schemas.microsoft.com/office/drawing/2014/main" val="3871929852"/>
                    </a:ext>
                  </a:extLst>
                </a:gridCol>
                <a:gridCol w="1816994">
                  <a:extLst>
                    <a:ext uri="{9D8B030D-6E8A-4147-A177-3AD203B41FA5}">
                      <a16:colId xmlns:a16="http://schemas.microsoft.com/office/drawing/2014/main" val="2061069242"/>
                    </a:ext>
                  </a:extLst>
                </a:gridCol>
              </a:tblGrid>
              <a:tr h="426345">
                <a:tc>
                  <a:txBody>
                    <a:bodyPr/>
                    <a:lstStyle/>
                    <a:p>
                      <a:pPr marL="0" algn="l" rtl="0" eaLnBrk="1" latinLnBrk="0" hangingPunct="1">
                        <a:spcBef>
                          <a:spcPts val="0"/>
                        </a:spcBef>
                        <a:spcAft>
                          <a:spcPts val="0"/>
                        </a:spcAft>
                      </a:pPr>
                      <a:r>
                        <a:rPr lang="en-GB" sz="1100" b="1" i="0" u="none" kern="1200" baseline="0" dirty="0">
                          <a:effectLst/>
                        </a:rPr>
                        <a:t>Duration</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1" i="0" u="none" baseline="0" dirty="0">
                          <a:effectLst/>
                        </a:rPr>
                        <a:t>Agenda point</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1" i="0" u="none" kern="1200" baseline="0" dirty="0">
                          <a:effectLst/>
                        </a:rPr>
                        <a:t>Description</a:t>
                      </a:r>
                      <a:endParaRPr lang="en-GB" sz="1100" noProof="0" dirty="0">
                        <a:effectLst/>
                      </a:endParaRPr>
                    </a:p>
                  </a:txBody>
                  <a:tcPr marL="72000" marR="0" marT="0" marB="0" anchor="ctr"/>
                </a:tc>
                <a:tc>
                  <a:txBody>
                    <a:bodyPr/>
                    <a:lstStyle/>
                    <a:p>
                      <a:pPr marL="0" algn="l" rtl="0" eaLnBrk="1" latinLnBrk="0" hangingPunct="1">
                        <a:spcBef>
                          <a:spcPts val="0"/>
                        </a:spcBef>
                        <a:spcAft>
                          <a:spcPts val="0"/>
                        </a:spcAft>
                      </a:pPr>
                      <a:r>
                        <a:rPr lang="en-GB" sz="1100" b="1" i="0" u="none" baseline="0" dirty="0">
                          <a:effectLst/>
                        </a:rPr>
                        <a:t>Purpose</a:t>
                      </a:r>
                    </a:p>
                  </a:txBody>
                  <a:tcPr marL="72000" marR="0" marT="0" marB="0" anchor="ctr"/>
                </a:tc>
                <a:tc>
                  <a:txBody>
                    <a:bodyPr/>
                    <a:lstStyle/>
                    <a:p>
                      <a:pPr marL="0" algn="l" rtl="0" eaLnBrk="1" latinLnBrk="0" hangingPunct="1">
                        <a:spcBef>
                          <a:spcPts val="0"/>
                        </a:spcBef>
                        <a:spcAft>
                          <a:spcPts val="0"/>
                        </a:spcAft>
                      </a:pPr>
                      <a:r>
                        <a:rPr lang="en-GB" sz="1100" b="1" i="0" u="none" kern="1200" baseline="0" dirty="0">
                          <a:effectLst/>
                        </a:rPr>
                        <a:t>Required material</a:t>
                      </a:r>
                      <a:endParaRPr lang="en-GB" sz="1100" noProof="0" dirty="0">
                        <a:effectLst/>
                      </a:endParaRPr>
                    </a:p>
                  </a:txBody>
                  <a:tcPr marL="72000" marR="0" marT="0" marB="0" anchor="ctr"/>
                </a:tc>
                <a:extLst>
                  <a:ext uri="{0D108BD9-81ED-4DB2-BD59-A6C34878D82A}">
                    <a16:rowId xmlns:a16="http://schemas.microsoft.com/office/drawing/2014/main" val="4223331645"/>
                  </a:ext>
                </a:extLst>
              </a:tr>
              <a:tr h="499984">
                <a:tc>
                  <a:txBody>
                    <a:bodyPr/>
                    <a:lstStyle/>
                    <a:p>
                      <a:pPr marL="0" algn="l" rtl="0" eaLnBrk="1" latinLnBrk="0" hangingPunct="1">
                        <a:spcBef>
                          <a:spcPts val="0"/>
                        </a:spcBef>
                        <a:spcAft>
                          <a:spcPts val="0"/>
                        </a:spcAft>
                      </a:pPr>
                      <a:r>
                        <a:rPr lang="en-GB" sz="1100" b="0" i="0" u="none" kern="1200" baseline="0" dirty="0">
                          <a:effectLst/>
                        </a:rPr>
                        <a:t>30 minutes</a:t>
                      </a:r>
                      <a:endParaRPr lang="en-GB" sz="11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kern="1200" baseline="0" dirty="0">
                          <a:effectLst/>
                        </a:rPr>
                        <a:t>Goal attain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kern="1200" baseline="0" dirty="0">
                          <a:effectLst/>
                        </a:rPr>
                        <a:t>(exercise)</a:t>
                      </a:r>
                    </a:p>
                  </a:txBody>
                  <a:tcPr marL="72000" marR="0" marT="0" marB="0" anchor="ctr"/>
                </a:tc>
                <a:tc>
                  <a:txBody>
                    <a:bodyPr/>
                    <a:lstStyle/>
                    <a:p>
                      <a:pPr marL="0" lvl="0" indent="0" algn="l" rtl="0">
                        <a:spcBef>
                          <a:spcPts val="0"/>
                        </a:spcBef>
                        <a:spcAft>
                          <a:spcPts val="0"/>
                        </a:spcAft>
                        <a:buNone/>
                      </a:pPr>
                      <a:r>
                        <a:rPr lang="en-GB" sz="1100" b="0" i="0" u="none" kern="1200" baseline="0" dirty="0">
                          <a:effectLst/>
                        </a:rPr>
                        <a:t>During this rating exercise, team members evaluate goal attainment statements using a 1-5 scale, reflecting their level of agreement. These statements cover topics like promoting innovation, effective tool utilization, continuous learning, and onboarding in a hybrid work setting. Following the ratings, the team will engage in discussions from three different perspectives: Review, shaping the future, and taking actionable steps.</a:t>
                      </a:r>
                      <a:endParaRPr lang="en-GB" sz="1100" dirty="0">
                        <a:solidFill>
                          <a:schemeClr val="tx1"/>
                        </a:solidFill>
                        <a:cs typeface="Arial"/>
                      </a:endParaRPr>
                    </a:p>
                  </a:txBody>
                  <a:tcPr marL="72000" marR="0" marT="0" marB="0" anchor="ctr"/>
                </a:tc>
                <a:tc>
                  <a:txBody>
                    <a:bodyPr/>
                    <a:lstStyle/>
                    <a:p>
                      <a:pPr marL="0" algn="l" rtl="0" eaLnBrk="1" latinLnBrk="0" hangingPunct="1">
                        <a:spcBef>
                          <a:spcPts val="0"/>
                        </a:spcBef>
                        <a:spcAft>
                          <a:spcPts val="0"/>
                        </a:spcAft>
                      </a:pPr>
                      <a:r>
                        <a:rPr lang="en-GB" sz="1100" b="0" i="0" u="none" baseline="0" dirty="0">
                          <a:effectLst/>
                        </a:rPr>
                        <a:t>Reflection, open discussion, transparency, generating new ideas and consensus finding</a:t>
                      </a:r>
                    </a:p>
                  </a:txBody>
                  <a:tcPr marL="72000" marR="0" marT="0" marB="0" anchor="ctr"/>
                </a:tc>
                <a:tc>
                  <a:txBody>
                    <a:bodyPr/>
                    <a:lstStyle/>
                    <a:p>
                      <a:pPr marL="0" indent="0" algn="l" rtl="0" eaLnBrk="1" latinLnBrk="0" hangingPunct="1">
                        <a:spcBef>
                          <a:spcPts val="0"/>
                        </a:spcBef>
                        <a:spcAft>
                          <a:spcPts val="0"/>
                        </a:spcAft>
                      </a:pPr>
                      <a:endParaRPr lang="en-GB" sz="1100" b="0" i="0" u="none" baseline="0" dirty="0">
                        <a:effectLst/>
                      </a:endParaRPr>
                    </a:p>
                    <a:p>
                      <a:pPr marL="0" indent="0" algn="l" rtl="0" eaLnBrk="1" latinLnBrk="0" hangingPunct="1">
                        <a:spcBef>
                          <a:spcPts val="0"/>
                        </a:spcBef>
                        <a:spcAft>
                          <a:spcPts val="0"/>
                        </a:spcAft>
                      </a:pPr>
                      <a:r>
                        <a:rPr lang="en-GB" sz="1100" b="0" i="0" u="none" baseline="0" dirty="0">
                          <a:effectLst/>
                        </a:rPr>
                        <a:t>Slides: Goal attainment – Rating; open discussion and the rating slid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i="0" u="none" baseline="0" dirty="0">
                          <a:effectLst/>
                        </a:rPr>
                        <a:t>Materials: </a:t>
                      </a:r>
                      <a:r>
                        <a:rPr lang="en-GB" sz="1100" b="0" i="0" u="none" baseline="0" dirty="0" err="1">
                          <a:effectLst/>
                        </a:rPr>
                        <a:t>Mentimeter</a:t>
                      </a:r>
                      <a:r>
                        <a:rPr lang="en-GB" sz="1100" b="0" i="0" u="none" baseline="0" dirty="0">
                          <a:effectLst/>
                        </a:rPr>
                        <a:t> (optional), mobile phones for </a:t>
                      </a:r>
                      <a:r>
                        <a:rPr lang="en-GB" sz="1100" b="0" i="0" u="none" baseline="0" dirty="0" err="1">
                          <a:effectLst/>
                        </a:rPr>
                        <a:t>Mentimeter</a:t>
                      </a:r>
                      <a:r>
                        <a:rPr lang="en-GB" sz="1100" b="0" i="0" u="none" baseline="0" dirty="0">
                          <a:effectLst/>
                        </a:rPr>
                        <a:t> (optional), A3 printout of rating sheet, stickers, flipcharts and markers </a:t>
                      </a:r>
                    </a:p>
                    <a:p>
                      <a:pPr marL="0" indent="0" algn="l" rtl="0" eaLnBrk="1" latinLnBrk="0" hangingPunct="1">
                        <a:spcBef>
                          <a:spcPts val="0"/>
                        </a:spcBef>
                        <a:spcAft>
                          <a:spcPts val="0"/>
                        </a:spcAft>
                      </a:pPr>
                      <a:endParaRPr lang="en-GB" sz="1100" b="0" i="0" u="none" baseline="0" dirty="0">
                        <a:effectLst/>
                      </a:endParaRPr>
                    </a:p>
                  </a:txBody>
                  <a:tcPr marL="72000" marR="0" marT="0" marB="0" anchor="ctr"/>
                </a:tc>
                <a:extLst>
                  <a:ext uri="{0D108BD9-81ED-4DB2-BD59-A6C34878D82A}">
                    <a16:rowId xmlns:a16="http://schemas.microsoft.com/office/drawing/2014/main" val="2837530008"/>
                  </a:ext>
                </a:extLst>
              </a:tr>
              <a:tr h="954505">
                <a:tc>
                  <a:txBody>
                    <a:bodyPr/>
                    <a:lstStyle/>
                    <a:p>
                      <a:pPr marL="0" algn="l" rtl="0" eaLnBrk="1" latinLnBrk="0" hangingPunct="1">
                        <a:spcBef>
                          <a:spcPts val="0"/>
                        </a:spcBef>
                        <a:spcAft>
                          <a:spcPts val="0"/>
                        </a:spcAft>
                      </a:pPr>
                      <a:r>
                        <a:rPr lang="en-GB" sz="1100" b="0" i="0" u="none" kern="1200" baseline="0" dirty="0">
                          <a:effectLst/>
                        </a:rPr>
                        <a:t>30 minutes</a:t>
                      </a:r>
                      <a:endParaRPr lang="en-GB" sz="1100" noProof="0" dirty="0">
                        <a:effectLst/>
                      </a:endParaRPr>
                    </a:p>
                  </a:txBody>
                  <a:tcPr marL="72000" marR="0" marT="0" marB="0" anchor="ctr"/>
                </a:tc>
                <a:tc>
                  <a:txBody>
                    <a:bodyPr/>
                    <a:lstStyle/>
                    <a:p>
                      <a:pPr marL="0" lvl="0" algn="l" rtl="0">
                        <a:spcBef>
                          <a:spcPts val="0"/>
                        </a:spcBef>
                        <a:spcAft>
                          <a:spcPts val="0"/>
                        </a:spcAft>
                        <a:buNone/>
                      </a:pPr>
                      <a:r>
                        <a:rPr lang="en-GB" sz="1100" b="0" i="0" u="none" kern="1200" baseline="0" dirty="0">
                          <a:effectLst/>
                        </a:rPr>
                        <a:t>Team cohesion and well-being (exercise)</a:t>
                      </a:r>
                    </a:p>
                  </a:txBody>
                  <a:tcPr marL="72000" marR="0" marT="0" marB="0" anchor="ctr"/>
                </a:tc>
                <a:tc>
                  <a:txBody>
                    <a:bodyPr/>
                    <a:lstStyle/>
                    <a:p>
                      <a:pPr marL="0" lvl="0" algn="l" rtl="0">
                        <a:spcBef>
                          <a:spcPts val="0"/>
                        </a:spcBef>
                        <a:spcAft>
                          <a:spcPts val="0"/>
                        </a:spcAft>
                        <a:buNone/>
                      </a:pPr>
                      <a:endParaRPr lang="en-GB" sz="1100" b="0" i="0" u="none" kern="1200" baseline="0" dirty="0">
                        <a:effectLst/>
                      </a:endParaRPr>
                    </a:p>
                    <a:p>
                      <a:pPr marL="0" lvl="0" algn="l" rtl="0">
                        <a:spcBef>
                          <a:spcPts val="0"/>
                        </a:spcBef>
                        <a:spcAft>
                          <a:spcPts val="0"/>
                        </a:spcAft>
                        <a:buNone/>
                      </a:pPr>
                      <a:r>
                        <a:rPr lang="en-GB" sz="1100" b="0" i="0" u="none" kern="1200" baseline="0" dirty="0">
                          <a:effectLst/>
                        </a:rPr>
                        <a:t>This team exercise centres on improving team cohesion and well-being. Paired team members engage in discussions about social connection, cooperation reflection, fostering interaction, and promoting work-life balance in a hybrid work setting. Following these discussions, each pair shares their insights and two action steps with the entire group.</a:t>
                      </a:r>
                    </a:p>
                    <a:p>
                      <a:pPr marL="0" lvl="0" algn="l" rtl="0">
                        <a:spcBef>
                          <a:spcPts val="0"/>
                        </a:spcBef>
                        <a:spcAft>
                          <a:spcPts val="0"/>
                        </a:spcAft>
                        <a:buNone/>
                      </a:pPr>
                      <a:endParaRPr lang="en-GB" sz="1100" b="0" i="0" u="none" kern="1200" baseline="0" dirty="0">
                        <a:effectLst/>
                      </a:endParaRPr>
                    </a:p>
                  </a:txBody>
                  <a:tcPr marL="72000" marR="0" marT="0" marB="0" anchor="ctr"/>
                </a:tc>
                <a:tc>
                  <a:txBody>
                    <a:bodyPr/>
                    <a:lstStyle/>
                    <a:p>
                      <a:pPr marL="0" algn="l" rtl="0" eaLnBrk="1" latinLnBrk="0" hangingPunct="1">
                        <a:spcBef>
                          <a:spcPts val="0"/>
                        </a:spcBef>
                        <a:spcAft>
                          <a:spcPts val="0"/>
                        </a:spcAft>
                      </a:pPr>
                      <a:r>
                        <a:rPr lang="en-GB" sz="1100" b="0" i="0" u="none" baseline="0" dirty="0">
                          <a:effectLst/>
                        </a:rPr>
                        <a:t>Reflection, open discussion, transparency, generating new ideas and consensus finding</a:t>
                      </a:r>
                    </a:p>
                  </a:txBody>
                  <a:tcPr marL="72000" marR="0" marT="0" marB="0" anchor="ctr"/>
                </a:tc>
                <a:tc>
                  <a:txBody>
                    <a:bodyPr/>
                    <a:lstStyle/>
                    <a:p>
                      <a:pPr marL="0" algn="l" rtl="0" eaLnBrk="1" latinLnBrk="0" hangingPunct="1">
                        <a:spcBef>
                          <a:spcPts val="0"/>
                        </a:spcBef>
                        <a:spcAft>
                          <a:spcPts val="0"/>
                        </a:spcAft>
                      </a:pPr>
                      <a:r>
                        <a:rPr lang="en-GB" sz="1100" b="0" i="0" u="none" baseline="0" dirty="0">
                          <a:effectLst/>
                        </a:rPr>
                        <a:t>Slide: </a:t>
                      </a:r>
                      <a:r>
                        <a:rPr lang="en-GB" sz="1100" b="0" i="0" u="none" kern="1200" baseline="0" dirty="0">
                          <a:effectLst/>
                        </a:rPr>
                        <a:t>Team cohesion and well-being</a:t>
                      </a:r>
                    </a:p>
                    <a:p>
                      <a:pPr marL="0" lvl="0" algn="l" rtl="0">
                        <a:spcBef>
                          <a:spcPts val="0"/>
                        </a:spcBef>
                        <a:spcAft>
                          <a:spcPts val="0"/>
                        </a:spcAft>
                        <a:buNone/>
                      </a:pPr>
                      <a:r>
                        <a:rPr lang="en-GB" sz="1100" b="0" i="0" u="none" baseline="0" dirty="0">
                          <a:effectLst/>
                        </a:rPr>
                        <a:t>Materials: Sticky notes and markers</a:t>
                      </a:r>
                    </a:p>
                  </a:txBody>
                  <a:tcPr marL="72000" marR="0" marT="0" marB="0" anchor="ctr"/>
                </a:tc>
                <a:extLst>
                  <a:ext uri="{0D108BD9-81ED-4DB2-BD59-A6C34878D82A}">
                    <a16:rowId xmlns:a16="http://schemas.microsoft.com/office/drawing/2014/main" val="503110164"/>
                  </a:ext>
                </a:extLst>
              </a:tr>
              <a:tr h="373222">
                <a:tc>
                  <a:txBody>
                    <a:bodyPr/>
                    <a:lstStyle/>
                    <a:p>
                      <a:pPr marL="0" lvl="0" algn="l" rtl="0">
                        <a:spcBef>
                          <a:spcPts val="0"/>
                        </a:spcBef>
                        <a:spcAft>
                          <a:spcPts val="0"/>
                        </a:spcAft>
                        <a:buNone/>
                      </a:pPr>
                      <a:r>
                        <a:rPr lang="en-GB" sz="1100" b="0" i="0" u="none" kern="1200" baseline="0" dirty="0">
                          <a:effectLst/>
                        </a:rPr>
                        <a:t>20 minutes</a:t>
                      </a:r>
                      <a:endParaRPr lang="en-GB" sz="1100" noProof="0" dirty="0"/>
                    </a:p>
                  </a:txBody>
                  <a:tcPr marL="72000" marR="0" marT="0" marB="0" anchor="ctr"/>
                </a:tc>
                <a:tc>
                  <a:txBody>
                    <a:bodyPr/>
                    <a:lstStyle/>
                    <a:p>
                      <a:pPr marL="0" algn="l" rtl="0" eaLnBrk="1" latinLnBrk="0" hangingPunct="1">
                        <a:spcBef>
                          <a:spcPts val="0"/>
                        </a:spcBef>
                        <a:spcAft>
                          <a:spcPts val="0"/>
                        </a:spcAft>
                      </a:pPr>
                      <a:r>
                        <a:rPr lang="en-GB" sz="1100" b="0" i="0" u="none" kern="1200" baseline="0" dirty="0">
                          <a:effectLst/>
                        </a:rPr>
                        <a:t>Check-out &amp; next steps (exercise)</a:t>
                      </a:r>
                    </a:p>
                  </a:txBody>
                  <a:tcPr marL="72000" marR="0" marT="0" marB="0" anchor="ctr"/>
                </a:tc>
                <a:tc>
                  <a:txBody>
                    <a:bodyPr/>
                    <a:lstStyle/>
                    <a:p>
                      <a:pPr marL="0" lvl="0" algn="l" rtl="0">
                        <a:spcBef>
                          <a:spcPts val="0"/>
                        </a:spcBef>
                        <a:spcAft>
                          <a:spcPts val="0"/>
                        </a:spcAft>
                        <a:buNone/>
                      </a:pPr>
                      <a:endParaRPr lang="en-GB" sz="1100" b="0" i="0" u="none" kern="1200" baseline="0" dirty="0">
                        <a:effectLst/>
                      </a:endParaRPr>
                    </a:p>
                    <a:p>
                      <a:pPr marL="0" lvl="0" algn="l" rtl="0">
                        <a:spcBef>
                          <a:spcPts val="0"/>
                        </a:spcBef>
                        <a:spcAft>
                          <a:spcPts val="0"/>
                        </a:spcAft>
                        <a:buNone/>
                      </a:pPr>
                      <a:r>
                        <a:rPr lang="en-GB" sz="1100" b="0" i="0" u="none" kern="1200" baseline="0" dirty="0">
                          <a:effectLst/>
                        </a:rPr>
                        <a:t>The final exercise aims to consolidate the team's commitment to specific actions identified during previous discussions. Team members prioritize these actions by placing stickers on the ones they find most impactful, followed by a collective decision on the most popular choices</a:t>
                      </a:r>
                      <a:r>
                        <a:rPr lang="en-GB" sz="1100" b="0" i="0" u="none" kern="1200" baseline="0">
                          <a:effectLst/>
                        </a:rPr>
                        <a:t>. </a:t>
                      </a:r>
                    </a:p>
                    <a:p>
                      <a:pPr marL="0" lvl="0" algn="l" rtl="0">
                        <a:spcBef>
                          <a:spcPts val="0"/>
                        </a:spcBef>
                        <a:spcAft>
                          <a:spcPts val="0"/>
                        </a:spcAft>
                        <a:buNone/>
                      </a:pPr>
                      <a:endParaRPr lang="en-GB" sz="1100" b="0" i="0" u="none" kern="1200" baseline="0" dirty="0">
                        <a:effectLst/>
                      </a:endParaRPr>
                    </a:p>
                  </a:txBody>
                  <a:tcPr marL="72000" marR="0" marT="0" marB="0" anchor="ctr"/>
                </a:tc>
                <a:tc>
                  <a:txBody>
                    <a:bodyPr/>
                    <a:lstStyle/>
                    <a:p>
                      <a:pPr marL="0" lvl="0" algn="l" rtl="0">
                        <a:spcBef>
                          <a:spcPts val="0"/>
                        </a:spcBef>
                        <a:spcAft>
                          <a:spcPts val="0"/>
                        </a:spcAft>
                        <a:buNone/>
                      </a:pPr>
                      <a:r>
                        <a:rPr lang="en-GB" sz="1100" b="0" i="0" u="none" baseline="0" dirty="0">
                          <a:effectLst/>
                        </a:rPr>
                        <a:t>Review &amp; committing to action</a:t>
                      </a:r>
                    </a:p>
                  </a:txBody>
                  <a:tcPr marL="72000" marR="0" marT="0" marB="0" anchor="ctr"/>
                </a:tc>
                <a:tc>
                  <a:txBody>
                    <a:bodyPr/>
                    <a:lstStyle/>
                    <a:p>
                      <a:pPr marL="0" algn="l" rtl="0" eaLnBrk="1" latinLnBrk="0" hangingPunct="1">
                        <a:spcBef>
                          <a:spcPts val="0"/>
                        </a:spcBef>
                        <a:spcAft>
                          <a:spcPts val="0"/>
                        </a:spcAft>
                      </a:pPr>
                      <a:r>
                        <a:rPr lang="en-GB" sz="1100" b="0" i="0" u="none" baseline="0" dirty="0">
                          <a:effectLst/>
                        </a:rPr>
                        <a:t>Slide: Check-out &amp; next steps</a:t>
                      </a:r>
                    </a:p>
                  </a:txBody>
                  <a:tcPr marL="72000" marR="0" marT="0" marB="0" anchor="ctr"/>
                </a:tc>
                <a:extLst>
                  <a:ext uri="{0D108BD9-81ED-4DB2-BD59-A6C34878D82A}">
                    <a16:rowId xmlns:a16="http://schemas.microsoft.com/office/drawing/2014/main" val="4265229918"/>
                  </a:ext>
                </a:extLst>
              </a:tr>
            </a:tbl>
          </a:graphicData>
        </a:graphic>
      </p:graphicFrame>
      <p:sp>
        <p:nvSpPr>
          <p:cNvPr id="2" name="Titel 1"/>
          <p:cNvSpPr>
            <a:spLocks noGrp="1"/>
          </p:cNvSpPr>
          <p:nvPr>
            <p:ph type="title"/>
          </p:nvPr>
        </p:nvSpPr>
        <p:spPr/>
        <p:txBody>
          <a:bodyPr vert="horz"/>
          <a:lstStyle/>
          <a:p>
            <a:pPr algn="l"/>
            <a:r>
              <a:rPr lang="en-GB" b="0" i="0" u="none" baseline="0" dirty="0">
                <a:latin typeface="Arial"/>
                <a:ea typeface="Arial"/>
                <a:cs typeface="Arial"/>
              </a:rPr>
              <a:t>Sample schedule (2/2)</a:t>
            </a:r>
            <a:br>
              <a:rPr lang="en-GB" dirty="0">
                <a:cs typeface="Arial"/>
              </a:rPr>
            </a:br>
            <a:r>
              <a:rPr lang="en-GB" sz="2000" b="0" i="0" u="none" baseline="0" dirty="0">
                <a:latin typeface="Arial"/>
                <a:ea typeface="Arial"/>
                <a:cs typeface="Arial"/>
              </a:rPr>
              <a:t>Please plan around 2.5 hours </a:t>
            </a:r>
            <a:endParaRPr lang="en-GB" dirty="0">
              <a:cs typeface="Arial"/>
            </a:endParaRPr>
          </a:p>
        </p:txBody>
      </p:sp>
      <p:sp>
        <p:nvSpPr>
          <p:cNvPr id="4" name="Datumsplatzhalter 3"/>
          <p:cNvSpPr>
            <a:spLocks noGrp="1"/>
          </p:cNvSpPr>
          <p:nvPr>
            <p:ph type="dt" sz="half" idx="10"/>
          </p:nvPr>
        </p:nvSpPr>
        <p:spPr/>
        <p:txBody>
          <a:bodyPr/>
          <a:lstStyle/>
          <a:p>
            <a:pPr algn="l"/>
            <a:fld id="{3A4F31DD-5CD5-4542-A109-D93A5BF0AFD9}" type="datetime1">
              <a:rPr lang="en-GB" smtClean="0"/>
              <a:pPr algn="l"/>
              <a:t>29/02/2024</a:t>
            </a:fld>
            <a:endParaRPr lang="en-GB"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en-GB" b="0" i="0" u="none" baseline="0"/>
              <a:t>Developing a team consensus and shaping the future of work together</a:t>
            </a:r>
            <a:endParaRPr lang="en-GB"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en-GB" smtClean="0"/>
              <a:pPr algn="r"/>
              <a:t>8</a:t>
            </a:fld>
            <a:endParaRPr lang="en-GB" noProof="0" dirty="0"/>
          </a:p>
        </p:txBody>
      </p:sp>
      <p:sp>
        <p:nvSpPr>
          <p:cNvPr id="7" name="Rechteck 6">
            <a:extLst>
              <a:ext uri="{FF2B5EF4-FFF2-40B4-BE49-F238E27FC236}">
                <a16:creationId xmlns:a16="http://schemas.microsoft.com/office/drawing/2014/main" id="{8B4571F4-CEEE-40D0-A216-BDA48C6DB1A7}"/>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Background info for </a:t>
            </a:r>
            <a:br>
              <a:rPr lang="en-GB" dirty="0"/>
            </a:br>
            <a:r>
              <a:rPr lang="en-GB" b="0" i="0" u="none" baseline="0" dirty="0"/>
              <a:t>supervisors</a:t>
            </a:r>
          </a:p>
        </p:txBody>
      </p:sp>
    </p:spTree>
    <p:extLst>
      <p:ext uri="{BB962C8B-B14F-4D97-AF65-F5344CB8AC3E}">
        <p14:creationId xmlns:p14="http://schemas.microsoft.com/office/powerpoint/2010/main" val="1769867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BD25E6-FA1C-5484-3331-B91F0F7B9647}"/>
              </a:ext>
            </a:extLst>
          </p:cNvPr>
          <p:cNvGraphicFramePr>
            <a:graphicFrameLocks noChangeAspect="1"/>
          </p:cNvGraphicFramePr>
          <p:nvPr>
            <p:custDataLst>
              <p:tags r:id="rId1"/>
            </p:custDataLst>
            <p:extLst>
              <p:ext uri="{D42A27DB-BD31-4B8C-83A1-F6EECF244321}">
                <p14:modId xmlns:p14="http://schemas.microsoft.com/office/powerpoint/2010/main" val="362402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0BD25E6-FA1C-5484-3331-B91F0F7B96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E1F9D0C-A2DE-4320-86DB-E9507EE39331}"/>
              </a:ext>
            </a:extLst>
          </p:cNvPr>
          <p:cNvPicPr>
            <a:picLocks noChangeAspect="1"/>
          </p:cNvPicPr>
          <p:nvPr/>
        </p:nvPicPr>
        <p:blipFill>
          <a:blip r:embed="rId6"/>
          <a:stretch>
            <a:fillRect/>
          </a:stretch>
        </p:blipFill>
        <p:spPr>
          <a:xfrm>
            <a:off x="731837" y="983725"/>
            <a:ext cx="10728326" cy="5332867"/>
          </a:xfrm>
          <a:prstGeom prst="rect">
            <a:avLst/>
          </a:prstGeom>
        </p:spPr>
      </p:pic>
      <p:sp>
        <p:nvSpPr>
          <p:cNvPr id="8" name="Titel 2">
            <a:extLst>
              <a:ext uri="{FF2B5EF4-FFF2-40B4-BE49-F238E27FC236}">
                <a16:creationId xmlns:a16="http://schemas.microsoft.com/office/drawing/2014/main" id="{AC1FB292-90C1-439C-8480-EB4116CF2374}"/>
              </a:ext>
            </a:extLst>
          </p:cNvPr>
          <p:cNvSpPr txBox="1">
            <a:spLocks/>
          </p:cNvSpPr>
          <p:nvPr/>
        </p:nvSpPr>
        <p:spPr>
          <a:xfrm>
            <a:off x="0" y="3488551"/>
            <a:ext cx="5829300" cy="2389736"/>
          </a:xfrm>
          <a:prstGeom prst="rect">
            <a:avLst/>
          </a:prstGeom>
          <a:solidFill>
            <a:schemeClr val="accent3"/>
          </a:solidFill>
          <a:ln>
            <a:solidFill>
              <a:schemeClr val="accent3"/>
            </a:solidFill>
          </a:ln>
        </p:spPr>
        <p:txBody>
          <a:bodyPr vert="horz" lIns="1080000" tIns="252000" rIns="0" bIns="0" rtlCol="0" anchor="t" anchorCtr="0">
            <a:noAutofit/>
          </a:bodyPr>
          <a:lstStyle>
            <a:lvl1pPr algn="l" defTabSz="914400" rtl="0" eaLnBrk="1" latinLnBrk="0" hangingPunct="1">
              <a:lnSpc>
                <a:spcPct val="100000"/>
              </a:lnSpc>
              <a:spcBef>
                <a:spcPct val="0"/>
              </a:spcBef>
              <a:buNone/>
              <a:defRPr sz="3600" kern="1200">
                <a:solidFill>
                  <a:schemeClr val="bg1"/>
                </a:solidFill>
                <a:latin typeface="+mj-lt"/>
                <a:ea typeface="+mj-ea"/>
                <a:cs typeface="+mj-cs"/>
              </a:defRPr>
            </a:lvl1pPr>
          </a:lstStyle>
          <a:p>
            <a:pPr algn="l">
              <a:spcAft>
                <a:spcPts val="1200"/>
              </a:spcAft>
            </a:pPr>
            <a:r>
              <a:rPr lang="en-GB" sz="2800" b="0" i="0" u="none" baseline="0" dirty="0"/>
              <a:t>Developing a team consensus and shaping the future of work together</a:t>
            </a:r>
            <a:endParaRPr lang="en-GB" sz="2800" dirty="0">
              <a:cs typeface="Arial"/>
            </a:endParaRPr>
          </a:p>
          <a:p>
            <a:pPr algn="l">
              <a:spcAft>
                <a:spcPts val="1200"/>
              </a:spcAft>
            </a:pPr>
            <a:r>
              <a:rPr lang="en-GB" sz="1800" b="0" i="0" u="none" baseline="0" dirty="0"/>
              <a:t>TEAM X / RESEARCH GROUP Y</a:t>
            </a:r>
          </a:p>
          <a:p>
            <a:pPr algn="l">
              <a:spcAft>
                <a:spcPts val="1200"/>
              </a:spcAft>
            </a:pPr>
            <a:r>
              <a:rPr lang="en-GB" sz="1200" b="0" i="0" u="none" baseline="0" dirty="0"/>
              <a:t>DATE</a:t>
            </a:r>
            <a:endParaRPr lang="en-GB" sz="1200" dirty="0"/>
          </a:p>
        </p:txBody>
      </p:sp>
      <p:sp>
        <p:nvSpPr>
          <p:cNvPr id="4" name="Text Placeholder 5">
            <a:extLst>
              <a:ext uri="{FF2B5EF4-FFF2-40B4-BE49-F238E27FC236}">
                <a16:creationId xmlns:a16="http://schemas.microsoft.com/office/drawing/2014/main" id="{1C64F35D-60B1-47E8-8AA1-15FBD62E6694}"/>
              </a:ext>
            </a:extLst>
          </p:cNvPr>
          <p:cNvSpPr txBox="1">
            <a:spLocks/>
          </p:cNvSpPr>
          <p:nvPr/>
        </p:nvSpPr>
        <p:spPr>
          <a:xfrm>
            <a:off x="9696449" y="316800"/>
            <a:ext cx="180000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15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b="0" i="0" u="none" baseline="0" dirty="0"/>
              <a:t>VPPL</a:t>
            </a:r>
          </a:p>
        </p:txBody>
      </p:sp>
      <p:sp>
        <p:nvSpPr>
          <p:cNvPr id="5" name="Rechteck: abgerundete Ecken 4">
            <a:extLst>
              <a:ext uri="{FF2B5EF4-FFF2-40B4-BE49-F238E27FC236}">
                <a16:creationId xmlns:a16="http://schemas.microsoft.com/office/drawing/2014/main" id="{FFE3D09D-A5EF-4DB0-8BAE-BBD2BA7E76E2}"/>
              </a:ext>
            </a:extLst>
          </p:cNvPr>
          <p:cNvSpPr/>
          <p:nvPr/>
        </p:nvSpPr>
        <p:spPr>
          <a:xfrm>
            <a:off x="5565332" y="668888"/>
            <a:ext cx="6338413" cy="5962539"/>
          </a:xfrm>
          <a:prstGeom prst="roundRect">
            <a:avLst>
              <a:gd name="adj" fmla="val 815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000"/>
              </a:spcAft>
              <a:buFont typeface="Arial" panose="020B0604020202020204" pitchFamily="34" charset="0"/>
              <a:buChar char="•"/>
            </a:pPr>
            <a:r>
              <a:rPr lang="en-GB" sz="1600" b="0" i="0" u="none" baseline="0" dirty="0"/>
              <a:t>The slides that you can use for your workshop start here.</a:t>
            </a:r>
          </a:p>
          <a:p>
            <a:pPr marL="285750" indent="-285750">
              <a:spcAft>
                <a:spcPts val="1000"/>
              </a:spcAft>
              <a:buFont typeface="Arial" panose="020B0604020202020204" pitchFamily="34" charset="0"/>
              <a:buChar char="•"/>
            </a:pPr>
            <a:r>
              <a:rPr lang="en-GB" sz="1600" b="0" i="0" u="none" baseline="0" dirty="0"/>
              <a:t>Feel free to tailor the slides to your needs (by changing the title of this slide, for instance).</a:t>
            </a:r>
          </a:p>
          <a:p>
            <a:pPr marL="285750" indent="-285750">
              <a:spcAft>
                <a:spcPts val="1000"/>
              </a:spcAft>
              <a:buFont typeface="Arial" panose="020B0604020202020204" pitchFamily="34" charset="0"/>
              <a:buChar char="•"/>
            </a:pPr>
            <a:r>
              <a:rPr lang="en-GB" sz="1600" b="0" i="0" u="none" baseline="0" dirty="0"/>
              <a:t>Sprinkled throughout you will find “background info for supervisors” slides, which are tagged in green in the upper right-hand corner. These slides will give you additional guidance for the part of the workshop in question. If you want to use this set of slides for your workshop, we recommend </a:t>
            </a:r>
            <a:r>
              <a:rPr lang="en-GB" sz="1600" b="0" i="1" u="none" baseline="0" dirty="0"/>
              <a:t>hiding</a:t>
            </a:r>
            <a:r>
              <a:rPr lang="en-GB" sz="1600" b="0" i="0" u="none" baseline="0" dirty="0"/>
              <a:t> the background info slides beforehand. </a:t>
            </a:r>
          </a:p>
          <a:p>
            <a:pPr marL="285750" indent="-285750">
              <a:spcAft>
                <a:spcPts val="1000"/>
              </a:spcAft>
              <a:buFont typeface="Arial" panose="020B0604020202020204" pitchFamily="34" charset="0"/>
              <a:buChar char="•"/>
            </a:pPr>
            <a:r>
              <a:rPr lang="en-GB" sz="1600" b="0" i="0" u="none" baseline="0" dirty="0"/>
              <a:t>All slides that are intended to be shown during a workshop (including your changes, if applicable) are marked in purple in the upper right-hand corner as a “presentation slide”. Please remove this label before using the presentation. </a:t>
            </a:r>
          </a:p>
          <a:p>
            <a:pPr marL="285750" indent="-285750">
              <a:spcAft>
                <a:spcPts val="1000"/>
              </a:spcAft>
              <a:buFont typeface="Arial" panose="020B0604020202020204" pitchFamily="34" charset="0"/>
              <a:buChar char="•"/>
            </a:pPr>
            <a:r>
              <a:rPr lang="en-GB" sz="1600" b="0" i="0" u="none" baseline="0" dirty="0"/>
              <a:t>Please remove this tip box as well.</a:t>
            </a:r>
          </a:p>
        </p:txBody>
      </p:sp>
      <p:sp>
        <p:nvSpPr>
          <p:cNvPr id="6" name="Rechteck 5">
            <a:extLst>
              <a:ext uri="{FF2B5EF4-FFF2-40B4-BE49-F238E27FC236}">
                <a16:creationId xmlns:a16="http://schemas.microsoft.com/office/drawing/2014/main" id="{CFEE8961-1778-43E5-8D01-676802966A39}"/>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0" i="0" u="none" baseline="0" dirty="0"/>
              <a:t>Presentation slide</a:t>
            </a:r>
          </a:p>
        </p:txBody>
      </p:sp>
    </p:spTree>
    <p:extLst>
      <p:ext uri="{BB962C8B-B14F-4D97-AF65-F5344CB8AC3E}">
        <p14:creationId xmlns:p14="http://schemas.microsoft.com/office/powerpoint/2010/main" val="689743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H Zürich">
  <a:themeElements>
    <a:clrScheme name="ETH Zürich">
      <a:dk1>
        <a:sysClr val="windowText" lastClr="000000"/>
      </a:dk1>
      <a:lt1>
        <a:sysClr val="window" lastClr="FFFFFF"/>
      </a:lt1>
      <a:dk2>
        <a:srgbClr val="000000"/>
      </a:dk2>
      <a:lt2>
        <a:srgbClr val="FFFFFF"/>
      </a:lt2>
      <a:accent1>
        <a:srgbClr val="1269B0"/>
      </a:accent1>
      <a:accent2>
        <a:srgbClr val="91056A"/>
      </a:accent2>
      <a:accent3>
        <a:srgbClr val="007A96"/>
      </a:accent3>
      <a:accent4>
        <a:srgbClr val="485A2C"/>
      </a:accent4>
      <a:accent5>
        <a:srgbClr val="A8322D"/>
      </a:accent5>
      <a:accent6>
        <a:srgbClr val="72791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ETH 1">
      <a:srgbClr val="1F407A"/>
    </a:custClr>
    <a:custClr name="ETH 2">
      <a:srgbClr val="485A2C"/>
    </a:custClr>
    <a:custClr name="ETH 3">
      <a:srgbClr val="1269B0"/>
    </a:custClr>
    <a:custClr name="ETH 4">
      <a:srgbClr val="72791C"/>
    </a:custClr>
    <a:custClr name="ETH 5">
      <a:srgbClr val="91056A"/>
    </a:custClr>
    <a:custClr name="ETH 6">
      <a:srgbClr val="6F6F6F"/>
    </a:custClr>
    <a:custClr name="ETH 7">
      <a:srgbClr val="A8322D"/>
    </a:custClr>
    <a:custClr name="ETH 8">
      <a:srgbClr val="007A96"/>
    </a:custClr>
    <a:custClr name="ETH 9">
      <a:srgbClr val="956013"/>
    </a:custClr>
  </a:custClrLst>
  <a:extLst>
    <a:ext uri="{05A4C25C-085E-4340-85A3-A5531E510DB2}">
      <thm15:themeFamily xmlns:thm15="http://schemas.microsoft.com/office/thememl/2012/main" name="Präsentation1" id="{1FB99271-452E-48CD-845E-0D90CFBF7F79}" vid="{F81E789F-9506-4311-B5E1-6F1B690D517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9bc8928-c54f-494a-a2f0-64188098b7d2">
      <UserInfo>
        <DisplayName>Doege  Dagmar (HR)</DisplayName>
        <AccountId>38</AccountId>
        <AccountType/>
      </UserInfo>
      <UserInfo>
        <DisplayName>Kälin  Dahlia (HR)</DisplayName>
        <AccountId>13</AccountId>
        <AccountType/>
      </UserInfo>
      <UserInfo>
        <DisplayName>Buyken  Maximilian (VPPL)</DisplayName>
        <AccountId>14</AccountId>
        <AccountType/>
      </UserInfo>
    </SharedWithUsers>
    <lcf76f155ced4ddcb4097134ff3c332f xmlns="adfa7484-d6f3-4e7e-9538-74ddd14a98e7">
      <Terms xmlns="http://schemas.microsoft.com/office/infopath/2007/PartnerControls"/>
    </lcf76f155ced4ddcb4097134ff3c332f>
    <TaxCatchAll xmlns="a9bc8928-c54f-494a-a2f0-64188098b7d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B0D855CA51BAA4AA97FD85D649E9061" ma:contentTypeVersion="17" ma:contentTypeDescription="Ein neues Dokument erstellen." ma:contentTypeScope="" ma:versionID="88a47a294788d3db6ac541f2bf829df9">
  <xsd:schema xmlns:xsd="http://www.w3.org/2001/XMLSchema" xmlns:xs="http://www.w3.org/2001/XMLSchema" xmlns:p="http://schemas.microsoft.com/office/2006/metadata/properties" xmlns:ns2="adfa7484-d6f3-4e7e-9538-74ddd14a98e7" xmlns:ns3="a9bc8928-c54f-494a-a2f0-64188098b7d2" targetNamespace="http://schemas.microsoft.com/office/2006/metadata/properties" ma:root="true" ma:fieldsID="6dd0ce87d88489bb5495e6684a229e65" ns2:_="" ns3:_="">
    <xsd:import namespace="adfa7484-d6f3-4e7e-9538-74ddd14a98e7"/>
    <xsd:import namespace="a9bc8928-c54f-494a-a2f0-64188098b7d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fa7484-d6f3-4e7e-9538-74ddd14a98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325753ee-1565-428d-819f-4135842f58f2"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bc8928-c54f-494a-a2f0-64188098b7d2"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86150015-325f-4f07-a4e9-ee18a275c721}" ma:internalName="TaxCatchAll" ma:showField="CatchAllData" ma:web="a9bc8928-c54f-494a-a2f0-64188098b7d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588795-DC22-4B7C-9E21-398C02CC0419}">
  <ds:schemaRefs>
    <ds:schemaRef ds:uri="http://schemas.microsoft.com/sharepoint/v3/contenttype/forms"/>
  </ds:schemaRefs>
</ds:datastoreItem>
</file>

<file path=customXml/itemProps2.xml><?xml version="1.0" encoding="utf-8"?>
<ds:datastoreItem xmlns:ds="http://schemas.openxmlformats.org/officeDocument/2006/customXml" ds:itemID="{4527F8BC-A97C-4DF9-ABFD-5D8C1411B6AE}">
  <ds:schemaRefs>
    <ds:schemaRef ds:uri="http://schemas.microsoft.com/office/2006/metadata/properties"/>
    <ds:schemaRef ds:uri="a9bc8928-c54f-494a-a2f0-64188098b7d2"/>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purl.org/dc/elements/1.1/"/>
    <ds:schemaRef ds:uri="adfa7484-d6f3-4e7e-9538-74ddd14a98e7"/>
    <ds:schemaRef ds:uri="http://www.w3.org/XML/1998/namespace"/>
    <ds:schemaRef ds:uri="http://purl.org/dc/dcmitype/"/>
  </ds:schemaRefs>
</ds:datastoreItem>
</file>

<file path=customXml/itemProps3.xml><?xml version="1.0" encoding="utf-8"?>
<ds:datastoreItem xmlns:ds="http://schemas.openxmlformats.org/officeDocument/2006/customXml" ds:itemID="{FDF3D388-8A53-46C7-9BD0-8431E19856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fa7484-d6f3-4e7e-9538-74ddd14a98e7"/>
    <ds:schemaRef ds:uri="a9bc8928-c54f-494a-a2f0-64188098b7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_ETH_8</Template>
  <TotalTime>0</TotalTime>
  <Words>4789</Words>
  <Application>Microsoft Office PowerPoint</Application>
  <PresentationFormat>Widescreen</PresentationFormat>
  <Paragraphs>611</Paragraphs>
  <Slides>32</Slides>
  <Notes>32</Notes>
  <HiddenSlides>1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rial</vt:lpstr>
      <vt:lpstr>Arial,Sans-Serif</vt:lpstr>
      <vt:lpstr>Calibri</vt:lpstr>
      <vt:lpstr>Symbol</vt:lpstr>
      <vt:lpstr>ETH Zürich</vt:lpstr>
      <vt:lpstr>think-cell Slide</vt:lpstr>
      <vt:lpstr>PowerPoint Presentation</vt:lpstr>
      <vt:lpstr>Introduction to the workshop</vt:lpstr>
      <vt:lpstr>Focus topics of this workshop</vt:lpstr>
      <vt:lpstr>Relevant insights from within ETH   </vt:lpstr>
      <vt:lpstr>Questions for supervisors to ask themselves while preparing  for the workshop </vt:lpstr>
      <vt:lpstr>Preparing for the workshop</vt:lpstr>
      <vt:lpstr>Sample schedule (1/2) Please plan around 2.5 hours </vt:lpstr>
      <vt:lpstr>Sample schedule (2/2) Please plan around 2.5 hours </vt:lpstr>
      <vt:lpstr>PowerPoint Presentation</vt:lpstr>
      <vt:lpstr>Basic principles on working remotely </vt:lpstr>
      <vt:lpstr>Developing a team consensus</vt:lpstr>
      <vt:lpstr>Workshop run-down</vt:lpstr>
      <vt:lpstr>Workshop schedule</vt:lpstr>
      <vt:lpstr>Workshop schedule</vt:lpstr>
      <vt:lpstr>Check-in (example activity)</vt:lpstr>
      <vt:lpstr>Check-in (example activity)</vt:lpstr>
      <vt:lpstr>Workshop schedule</vt:lpstr>
      <vt:lpstr>Collaboration</vt:lpstr>
      <vt:lpstr>Collaboration – questions and perspectives</vt:lpstr>
      <vt:lpstr>Dealing with extreme attitudes – possible approach</vt:lpstr>
      <vt:lpstr>Dealing with extreme attitudes – self-reflection</vt:lpstr>
      <vt:lpstr>Workshop schedule</vt:lpstr>
      <vt:lpstr>Goal attainment - rating</vt:lpstr>
      <vt:lpstr>Instructions for using Mentimeter for the rating (optional)</vt:lpstr>
      <vt:lpstr>PowerPoint Presentation</vt:lpstr>
      <vt:lpstr>Goal attainment – open discussion</vt:lpstr>
      <vt:lpstr>   Break</vt:lpstr>
      <vt:lpstr>Workshop schedule</vt:lpstr>
      <vt:lpstr>Team cohesion and well-being</vt:lpstr>
      <vt:lpstr>Workshop schedule</vt:lpstr>
      <vt:lpstr>Check-out &amp; next steps (example exercise)</vt:lpstr>
      <vt:lpstr>We wish you good luck with th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hlia Kaelin</dc:creator>
  <cp:lastModifiedBy>van Leeuwen  Sara (VPPL)</cp:lastModifiedBy>
  <cp:revision>114</cp:revision>
  <dcterms:created xsi:type="dcterms:W3CDTF">2021-01-13T10:22:45Z</dcterms:created>
  <dcterms:modified xsi:type="dcterms:W3CDTF">2024-02-29T09:4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0D855CA51BAA4AA97FD85D649E9061</vt:lpwstr>
  </property>
  <property fmtid="{D5CDD505-2E9C-101B-9397-08002B2CF9AE}" pid="3" name="MediaServiceImageTags">
    <vt:lpwstr/>
  </property>
</Properties>
</file>